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2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3.xml" ContentType="application/vnd.openxmlformats-officedocument.presentationml.tags+xml"/>
  <Override PartName="/ppt/notesSlides/notesSlide8.xml" ContentType="application/vnd.openxmlformats-officedocument.presentationml.notesSlide+xml"/>
  <Override PartName="/ppt/tags/tag14.xml" ContentType="application/vnd.openxmlformats-officedocument.presentationml.tags+xml"/>
  <Override PartName="/ppt/notesSlides/notesSlide9.xml" ContentType="application/vnd.openxmlformats-officedocument.presentationml.notesSlide+xml"/>
  <Override PartName="/ppt/tags/tag15.xml" ContentType="application/vnd.openxmlformats-officedocument.presentationml.tags+xml"/>
  <Override PartName="/ppt/notesSlides/notesSlide10.xml" ContentType="application/vnd.openxmlformats-officedocument.presentationml.notesSlide+xml"/>
  <Override PartName="/ppt/tags/tag16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17.xml" ContentType="application/vnd.openxmlformats-officedocument.presentationml.tags+xml"/>
  <Override PartName="/ppt/notesSlides/notesSlide15.xml" ContentType="application/vnd.openxmlformats-officedocument.presentationml.notesSlide+xml"/>
  <Override PartName="/ppt/tags/tag18.xml" ContentType="application/vnd.openxmlformats-officedocument.presentationml.tags+xml"/>
  <Override PartName="/ppt/notesSlides/notesSlide16.xml" ContentType="application/vnd.openxmlformats-officedocument.presentationml.notesSlide+xml"/>
  <Override PartName="/ppt/tags/tag19.xml" ContentType="application/vnd.openxmlformats-officedocument.presentationml.tags+xml"/>
  <Override PartName="/ppt/notesSlides/notesSlide17.xml" ContentType="application/vnd.openxmlformats-officedocument.presentationml.notesSlide+xml"/>
  <Override PartName="/ppt/tags/tag20.xml" ContentType="application/vnd.openxmlformats-officedocument.presentationml.tags+xml"/>
  <Override PartName="/ppt/notesSlides/notesSlide18.xml" ContentType="application/vnd.openxmlformats-officedocument.presentationml.notesSlide+xml"/>
  <Override PartName="/ppt/tags/tag21.xml" ContentType="application/vnd.openxmlformats-officedocument.presentationml.tags+xml"/>
  <Override PartName="/ppt/notesSlides/notesSlide19.xml" ContentType="application/vnd.openxmlformats-officedocument.presentationml.notesSlide+xml"/>
  <Override PartName="/ppt/tags/tag22.xml" ContentType="application/vnd.openxmlformats-officedocument.presentationml.tags+xml"/>
  <Override PartName="/ppt/notesSlides/notesSlide20.xml" ContentType="application/vnd.openxmlformats-officedocument.presentationml.notesSlide+xml"/>
  <Override PartName="/ppt/tags/tag23.xml" ContentType="application/vnd.openxmlformats-officedocument.presentationml.tags+xml"/>
  <Override PartName="/ppt/notesSlides/notesSlide21.xml" ContentType="application/vnd.openxmlformats-officedocument.presentationml.notesSlide+xml"/>
  <Override PartName="/ppt/tags/tag24.xml" ContentType="application/vnd.openxmlformats-officedocument.presentationml.tags+xml"/>
  <Override PartName="/ppt/notesSlides/notesSlide22.xml" ContentType="application/vnd.openxmlformats-officedocument.presentationml.notesSlide+xml"/>
  <Override PartName="/ppt/tags/tag25.xml" ContentType="application/vnd.openxmlformats-officedocument.presentationml.tags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tags/tag26.xml" ContentType="application/vnd.openxmlformats-officedocument.presentationml.tags+xml"/>
  <Override PartName="/ppt/notesSlides/notesSlide27.xml" ContentType="application/vnd.openxmlformats-officedocument.presentationml.notesSlide+xml"/>
  <Override PartName="/ppt/tags/tag27.xml" ContentType="application/vnd.openxmlformats-officedocument.presentationml.tags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tags/tag28.xml" ContentType="application/vnd.openxmlformats-officedocument.presentationml.tags+xml"/>
  <Override PartName="/ppt/notesSlides/notesSlide33.xml" ContentType="application/vnd.openxmlformats-officedocument.presentationml.notesSlide+xml"/>
  <Override PartName="/ppt/tags/tag29.xml" ContentType="application/vnd.openxmlformats-officedocument.presentationml.tags+xml"/>
  <Override PartName="/ppt/notesSlides/notesSlide34.xml" ContentType="application/vnd.openxmlformats-officedocument.presentationml.notesSlide+xml"/>
  <Override PartName="/ppt/tags/tag30.xml" ContentType="application/vnd.openxmlformats-officedocument.presentationml.tags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tags/tag31.xml" ContentType="application/vnd.openxmlformats-officedocument.presentationml.tags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1"/>
  </p:sldMasterIdLst>
  <p:notesMasterIdLst>
    <p:notesMasterId r:id="rId50"/>
  </p:notesMasterIdLst>
  <p:sldIdLst>
    <p:sldId id="256" r:id="rId2"/>
    <p:sldId id="300" r:id="rId3"/>
    <p:sldId id="257" r:id="rId4"/>
    <p:sldId id="301" r:id="rId5"/>
    <p:sldId id="306" r:id="rId6"/>
    <p:sldId id="307" r:id="rId7"/>
    <p:sldId id="259" r:id="rId8"/>
    <p:sldId id="284" r:id="rId9"/>
    <p:sldId id="291" r:id="rId10"/>
    <p:sldId id="282" r:id="rId11"/>
    <p:sldId id="309" r:id="rId12"/>
    <p:sldId id="292" r:id="rId13"/>
    <p:sldId id="305" r:id="rId14"/>
    <p:sldId id="262" r:id="rId15"/>
    <p:sldId id="283" r:id="rId16"/>
    <p:sldId id="285" r:id="rId17"/>
    <p:sldId id="293" r:id="rId18"/>
    <p:sldId id="287" r:id="rId19"/>
    <p:sldId id="294" r:id="rId20"/>
    <p:sldId id="288" r:id="rId21"/>
    <p:sldId id="296" r:id="rId22"/>
    <p:sldId id="289" r:id="rId23"/>
    <p:sldId id="297" r:id="rId24"/>
    <p:sldId id="310" r:id="rId25"/>
    <p:sldId id="267" r:id="rId26"/>
    <p:sldId id="268" r:id="rId27"/>
    <p:sldId id="290" r:id="rId28"/>
    <p:sldId id="303" r:id="rId29"/>
    <p:sldId id="311" r:id="rId30"/>
    <p:sldId id="264" r:id="rId31"/>
    <p:sldId id="270" r:id="rId32"/>
    <p:sldId id="265" r:id="rId33"/>
    <p:sldId id="286" r:id="rId34"/>
    <p:sldId id="295" r:id="rId35"/>
    <p:sldId id="302" r:id="rId36"/>
    <p:sldId id="272" r:id="rId37"/>
    <p:sldId id="273" r:id="rId38"/>
    <p:sldId id="274" r:id="rId39"/>
    <p:sldId id="275" r:id="rId40"/>
    <p:sldId id="276" r:id="rId41"/>
    <p:sldId id="277" r:id="rId42"/>
    <p:sldId id="278" r:id="rId43"/>
    <p:sldId id="279" r:id="rId44"/>
    <p:sldId id="280" r:id="rId45"/>
    <p:sldId id="298" r:id="rId46"/>
    <p:sldId id="299" r:id="rId47"/>
    <p:sldId id="304" r:id="rId48"/>
    <p:sldId id="308" r:id="rId49"/>
  </p:sldIdLst>
  <p:sldSz cx="12192000" cy="6858000"/>
  <p:notesSz cx="6858000" cy="91440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GoogleSlidesCustomDataVersion2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53" roundtripDataSignature="AMtx7mhEyWcEEzwzcRbnVabck/Ksk4ZWOg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3271" autoAdjust="0"/>
  </p:normalViewPr>
  <p:slideViewPr>
    <p:cSldViewPr snapToGrid="0" showGuides="1">
      <p:cViewPr varScale="1">
        <p:scale>
          <a:sx n="66" d="100"/>
          <a:sy n="66" d="100"/>
        </p:scale>
        <p:origin x="655" y="2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notesMaster" Target="notesMasters/notesMaster1.xml"/><Relationship Id="rId55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customschemas.google.com/relationships/presentationmetadata" Target="metadata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theme" Target="theme/theme1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35391312"/>
      </p:ext>
    </p:extLst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" name="Google Shape;195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96" name="Google Shape;196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7" name="Google Shape;197;p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7117600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D197CF-1415-3F55-9412-9A0C583D2A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6D0A54F-6F0F-6ED3-13AA-CFF02973875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ABF640E-6529-98A1-EA19-BDE9D1DFD06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mail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Email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astLog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LastLogin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0B89A7-4CEC-EA18-4BA1-58C31C49BF1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5188214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06B7C8-BFC7-100D-91CF-6AF74DB67E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76789E6-1EA0-80CA-A002-48C98696CED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08AB06F-D86D-290B-FA37-4BC5CCFC3C3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mail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Email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astLog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LastLogin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CFF0901-C730-B959-BABD-34B2B768491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8955242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3">
          <a:extLst>
            <a:ext uri="{FF2B5EF4-FFF2-40B4-BE49-F238E27FC236}">
              <a16:creationId xmlns:a16="http://schemas.microsoft.com/office/drawing/2014/main" id="{48CDC23F-5815-265D-5964-B7CCBE5781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" name="Google Shape;234;g344eaf56fbf_3_36:notes">
            <a:extLst>
              <a:ext uri="{FF2B5EF4-FFF2-40B4-BE49-F238E27FC236}">
                <a16:creationId xmlns:a16="http://schemas.microsoft.com/office/drawing/2014/main" id="{A50CB36B-B4DB-2F04-1E9E-171BD8256D98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5" name="Google Shape;235;g344eaf56fbf_3_36:notes">
            <a:extLst>
              <a:ext uri="{FF2B5EF4-FFF2-40B4-BE49-F238E27FC236}">
                <a16:creationId xmlns:a16="http://schemas.microsoft.com/office/drawing/2014/main" id="{50DA718F-DBF1-F88F-DD8A-26E81BB3051E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36" name="Google Shape;236;g344eaf56fbf_3_36:notes">
            <a:extLst>
              <a:ext uri="{FF2B5EF4-FFF2-40B4-BE49-F238E27FC236}">
                <a16:creationId xmlns:a16="http://schemas.microsoft.com/office/drawing/2014/main" id="{680AB3E3-1BBC-C94A-C8CC-71D1DE13FDFA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12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8843032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3">
          <a:extLst>
            <a:ext uri="{FF2B5EF4-FFF2-40B4-BE49-F238E27FC236}">
              <a16:creationId xmlns:a16="http://schemas.microsoft.com/office/drawing/2014/main" id="{E428A4FD-39D7-C90D-7EF9-F31AC98447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" name="Google Shape;234;g344eaf56fbf_3_36:notes">
            <a:extLst>
              <a:ext uri="{FF2B5EF4-FFF2-40B4-BE49-F238E27FC236}">
                <a16:creationId xmlns:a16="http://schemas.microsoft.com/office/drawing/2014/main" id="{4A010343-F21A-3788-D412-DA6547EF81F1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5" name="Google Shape;235;g344eaf56fbf_3_36:notes">
            <a:extLst>
              <a:ext uri="{FF2B5EF4-FFF2-40B4-BE49-F238E27FC236}">
                <a16:creationId xmlns:a16="http://schemas.microsoft.com/office/drawing/2014/main" id="{7CC8E8BE-25D6-46FF-B8F8-00A4BD1A253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36" name="Google Shape;236;g344eaf56fbf_3_36:notes">
            <a:extLst>
              <a:ext uri="{FF2B5EF4-FFF2-40B4-BE49-F238E27FC236}">
                <a16:creationId xmlns:a16="http://schemas.microsoft.com/office/drawing/2014/main" id="{718AD8E4-DA74-6772-7E0A-7BED13AEF210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13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2772028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1" name="Google Shape;241;g344eaf56fbf_3_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2" name="Google Shape;242;g344eaf56fbf_3_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43" name="Google Shape;243;g344eaf56fbf_3_8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14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4702385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025E68-44AE-CB14-DCE8-C7F1F40FA6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D537115-92CF-F45E-C467-B4C44885209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14DA45B-4EE5-5124-A135-F8D3DA8E47B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ttingKey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ttingValu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ttingUs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etting s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tting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1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20F58A4-F28C-EDE2-BF4D-DEF21A896AA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37192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A82DE1-04E6-D6A6-C0DD-9DEF80F190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569C5D9-770A-EF29-68AF-865EE13F5D1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8DA3D67-236E-3A14-0525-3D733DE14D1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avoriteObj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Files fi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2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70781C3-512F-A639-112D-FA75F4B3FA8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530055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208344-C8EA-2D9D-7F78-DD77134D09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6E3950F-B8E5-4761-10B7-B3277EF19C6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079AA3C-F04A-43AF-176F-099DD17793A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avoriteObj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Files fi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2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BF2444-07CF-8491-D61F-5E60B4423EC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8617442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BF6162-725D-1E1D-DF96-D0C2409EE9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5A1614C-D897-6CF1-BB85-0B0186A9994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8648BA2-799A-C848-5683-9DFEDAE7C39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th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th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ateTi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astAccesse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Recent r</a:t>
            </a: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r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i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2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t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ateTi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86203FF-9AB1-B422-BF0F-8418BEEF1FB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4558477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D34B20-6DD6-04CB-F7CA-516687F4D4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5C05E87-75D3-F4F7-3EC8-CC6F087BF7F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C917240-AA5E-8D74-3A34-2A4D85B0B6E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th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th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ateTi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astAccesse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Recent r</a:t>
            </a: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r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i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2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t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ateTi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15668DE-A484-A9E8-12B5-B0965FC8DD1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38728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45356436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07E0D6-C6C9-BAF4-DCEA-A4F10FD83A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5626375-6B85-EBF4-64EC-83884946CB0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924423E-276A-D707-FF74-DEED4E0D812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emoved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rash t</a:t>
            </a: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ot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i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2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emovedDateTi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43C7504-0344-E235-DEB1-9DB30DE86DD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7072244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5FD648-D76E-FCC4-C377-571E8E6EED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84D001A-21F9-2243-4871-CDFB0D41C72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3D963EF-D730-F922-956E-3B4B48EFEAA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emoved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rash t</a:t>
            </a: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ot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i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2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emovedDateTi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B1EE3E-8246-0558-C2BE-40BF416B001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92663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91027C6-F7A8-99DB-6C97-020A1BC543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E551D0E-CC36-7475-153D-2A61850DFBB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468F729-0BE0-39DD-8D16-C29B159FBB0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get storage information of an user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pacity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dCapacity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pacit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dCapacit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emainingCapacity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emainingCapacit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</a:p>
          <a:p>
            <a:endParaRPr lang="en-US" sz="1800" noProof="0" dirty="0">
              <a:solidFill>
                <a:srgbClr val="808080"/>
              </a:solidFill>
              <a:highlight>
                <a:srgbClr val="FFFFFF"/>
              </a:highlight>
              <a:latin typeface="Cascadia Mono" panose="020B0609020000020004" pitchFamily="49" charset="0"/>
              <a:cs typeface="Arial" panose="020B0604020202020204" pitchFamily="34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iz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iz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49DA072-3849-2641-35BB-E5FE8823CC6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6329306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D65C0A-4737-1E37-53DC-6E3C468F7C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E2AD736-44AB-5F7F-57AF-534EFF16B2B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8A49476-A048-4D10-BB7A-73D43CE362C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get storage information of an user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pacity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dCapacity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pacit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dCapacit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emainingCapacity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emainingCapacit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</a:p>
          <a:p>
            <a:endParaRPr lang="en-US" sz="1800" noProof="0" dirty="0">
              <a:solidFill>
                <a:srgbClr val="808080"/>
              </a:solidFill>
              <a:highlight>
                <a:srgbClr val="FFFFFF"/>
              </a:highlight>
              <a:latin typeface="Cascadia Mono" panose="020B0609020000020004" pitchFamily="49" charset="0"/>
              <a:cs typeface="Arial" panose="020B0604020202020204" pitchFamily="34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iz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iz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B9472E-A8FE-EF52-63FA-3B0C88EBA81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1598228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8">
          <a:extLst>
            <a:ext uri="{FF2B5EF4-FFF2-40B4-BE49-F238E27FC236}">
              <a16:creationId xmlns:a16="http://schemas.microsoft.com/office/drawing/2014/main" id="{3967E9A5-B67D-8CB1-4C82-AD9C2CA098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9" name="Google Shape;269;g344eaf56fbf_0_59:notes">
            <a:extLst>
              <a:ext uri="{FF2B5EF4-FFF2-40B4-BE49-F238E27FC236}">
                <a16:creationId xmlns:a16="http://schemas.microsoft.com/office/drawing/2014/main" id="{611120E0-7ACD-615E-B2F5-B9CEAECAB38C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70" name="Google Shape;270;g344eaf56fbf_0_59:notes">
            <a:extLst>
              <a:ext uri="{FF2B5EF4-FFF2-40B4-BE49-F238E27FC236}">
                <a16:creationId xmlns:a16="http://schemas.microsoft.com/office/drawing/2014/main" id="{94C88D72-BDF3-7D1B-7608-E7D2F7338B1A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71" name="Google Shape;271;g344eaf56fbf_0_59:notes">
            <a:extLst>
              <a:ext uri="{FF2B5EF4-FFF2-40B4-BE49-F238E27FC236}">
                <a16:creationId xmlns:a16="http://schemas.microsoft.com/office/drawing/2014/main" id="{22B0E3AF-F7C4-C055-B2CB-1CD7C7E9393C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24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2310073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" name="Google Shape;286;g36f56cd1dea_1_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87" name="Google Shape;287;g36f56cd1dea_1_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82284162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2" name="Google Shape;292;g36f76ef2d7d_0_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93" name="Google Shape;293;g36f76ef2d7d_0_1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94" name="Google Shape;294;g36f76ef2d7d_0_1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26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89141830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F51774-10EF-B955-C8C5-186E59C390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B99B8AB-22C8-72B3-4CAB-B367EA8D0C1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6F74D03-77F3-2C0A-CB7D-CA2FDA792BC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roduct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ying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romotion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Produ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p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roducts p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rodu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p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romotion pr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romotion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99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7316E5-F0C7-963C-B3AD-FBCDD5AFCC2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393152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89669818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7">
          <a:extLst>
            <a:ext uri="{FF2B5EF4-FFF2-40B4-BE49-F238E27FC236}">
              <a16:creationId xmlns:a16="http://schemas.microsoft.com/office/drawing/2014/main" id="{2D794C46-6F92-AC6A-126B-E8865518B8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" name="Google Shape;248;g344eaf56fbf_0_44:notes">
            <a:extLst>
              <a:ext uri="{FF2B5EF4-FFF2-40B4-BE49-F238E27FC236}">
                <a16:creationId xmlns:a16="http://schemas.microsoft.com/office/drawing/2014/main" id="{FF442A19-9F97-BF4B-3D55-660D40D4A915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9" name="Google Shape;249;g344eaf56fbf_0_44:notes">
            <a:extLst>
              <a:ext uri="{FF2B5EF4-FFF2-40B4-BE49-F238E27FC236}">
                <a16:creationId xmlns:a16="http://schemas.microsoft.com/office/drawing/2014/main" id="{8EF5C974-68AB-ADD0-0F9E-DF04F2722C4A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50" name="Google Shape;250;g344eaf56fbf_0_44:notes">
            <a:extLst>
              <a:ext uri="{FF2B5EF4-FFF2-40B4-BE49-F238E27FC236}">
                <a16:creationId xmlns:a16="http://schemas.microsoft.com/office/drawing/2014/main" id="{6E83B42C-A531-CA48-F317-D0D57FEF25CA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29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073979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" name="Google Shape;200;g36f56cd1dea_2_1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01" name="Google Shape;201;g36f56cd1dea_2_1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02" name="Google Shape;202;g36f56cd1dea_2_17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3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73995396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5" name="Google Shape;255;g344eaf56fbf_2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56" name="Google Shape;256;g344eaf56fbf_2_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57" name="Google Shape;257;g344eaf56fbf_2_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30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32812638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4" name="Google Shape;304;g36f56cd1dea_1_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5" name="Google Shape;305;g36f56cd1dea_1_1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06" name="Google Shape;306;g36f56cd1dea_1_1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31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85920079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2" name="Google Shape;262;g36f76ef2d7d_0_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63" name="Google Shape;263;g36f76ef2d7d_0_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4" name="Google Shape;264;g36f76ef2d7d_0_7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32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41051036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5316DC-9293-D68E-E009-9A1D7D0428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403E0B7-08A9-A848-0168-FE009CC7FD7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6BFAAC8-CA3C-1D60-5080-C1C9E0C4CCA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get shared objects with an user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ermission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u2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reated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Create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xpires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Expires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dUs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hare s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2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2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ermission p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ermission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i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2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xpires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&gt;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FF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GETDAT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()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reated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906DA1A-B943-0998-4E50-5FB6CEDB2B3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8509647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65DBC22-7030-C280-D48D-D7C4ADB2CD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9B3E1D5-16D5-F644-8CD1-4C063A2A3E5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3C61A00-5B59-C99E-3FB0-7D8EC3DAA3F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get shared objects with an user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ermission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u2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reated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Create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xpires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Expires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dUs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hare s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2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2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ermission p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ermission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i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2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xpires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&gt;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FF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GETDAT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()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reated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A11BF2C-EBD6-6873-29A3-526F22FE0F1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50238631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89669818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0" name="Google Shape;320;p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1" name="Google Shape;321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415495764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" name="Google Shape;327;p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8" name="Google Shape;328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700119206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3" name="Google Shape;333;p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4" name="Google Shape;334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434119595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8" name="Google Shape;338;p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9" name="Google Shape;339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9952545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89669818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4" name="Google Shape;344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45" name="Google Shape;345;p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6" name="Google Shape;346;p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40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34870350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2" name="Google Shape;352;g36f56cd1dea_0_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53" name="Google Shape;353;g36f56cd1dea_0_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54" name="Google Shape;354;g36f56cd1dea_0_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41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3183448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" name="Google Shape;361;g36f56cd1dea_0_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62" name="Google Shape;362;g36f56cd1dea_0_1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3" name="Google Shape;363;g36f56cd1dea_0_1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42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32810344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9" name="Google Shape;369;g36f56cd1dea_0_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70" name="Google Shape;370;g36f56cd1dea_0_1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1" name="Google Shape;371;g36f56cd1dea_0_18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43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20352760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" name="Google Shape;378;g36f56cd1dea_2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79" name="Google Shape;379;g36f56cd1dea_2_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380" name="Google Shape;380;g36f56cd1dea_2_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44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50664146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77">
          <a:extLst>
            <a:ext uri="{FF2B5EF4-FFF2-40B4-BE49-F238E27FC236}">
              <a16:creationId xmlns:a16="http://schemas.microsoft.com/office/drawing/2014/main" id="{BBE7D3EB-1F26-C392-7502-708C5845C3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" name="Google Shape;378;g36f56cd1dea_2_0:notes">
            <a:extLst>
              <a:ext uri="{FF2B5EF4-FFF2-40B4-BE49-F238E27FC236}">
                <a16:creationId xmlns:a16="http://schemas.microsoft.com/office/drawing/2014/main" id="{8FC8F6F8-1ADA-51E8-E3CB-BB36B191AC6E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79" name="Google Shape;379;g36f56cd1dea_2_0:notes">
            <a:extLst>
              <a:ext uri="{FF2B5EF4-FFF2-40B4-BE49-F238E27FC236}">
                <a16:creationId xmlns:a16="http://schemas.microsoft.com/office/drawing/2014/main" id="{0871B23E-EA7E-B258-3212-79768B9507A0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380" name="Google Shape;380;g36f56cd1dea_2_0:notes">
            <a:extLst>
              <a:ext uri="{FF2B5EF4-FFF2-40B4-BE49-F238E27FC236}">
                <a16:creationId xmlns:a16="http://schemas.microsoft.com/office/drawing/2014/main" id="{C0209A62-164D-C537-5B34-A58ED0742C19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45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29695834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77">
          <a:extLst>
            <a:ext uri="{FF2B5EF4-FFF2-40B4-BE49-F238E27FC236}">
              <a16:creationId xmlns:a16="http://schemas.microsoft.com/office/drawing/2014/main" id="{9363A81C-A56F-762A-44A7-E30AA41909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" name="Google Shape;378;g36f56cd1dea_2_0:notes">
            <a:extLst>
              <a:ext uri="{FF2B5EF4-FFF2-40B4-BE49-F238E27FC236}">
                <a16:creationId xmlns:a16="http://schemas.microsoft.com/office/drawing/2014/main" id="{E5012E0A-0C56-5E1E-9174-1CAB5FDF6D6A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79" name="Google Shape;379;g36f56cd1dea_2_0:notes">
            <a:extLst>
              <a:ext uri="{FF2B5EF4-FFF2-40B4-BE49-F238E27FC236}">
                <a16:creationId xmlns:a16="http://schemas.microsoft.com/office/drawing/2014/main" id="{225DD7C4-DBDF-9534-F3A3-CB46BFB0AF3E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380" name="Google Shape;380;g36f56cd1dea_2_0:notes">
            <a:extLst>
              <a:ext uri="{FF2B5EF4-FFF2-40B4-BE49-F238E27FC236}">
                <a16:creationId xmlns:a16="http://schemas.microsoft.com/office/drawing/2014/main" id="{4742730E-2A60-1CF5-C440-EAE7CE8EBD09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46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94901603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4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89669818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4">
          <a:extLst>
            <a:ext uri="{FF2B5EF4-FFF2-40B4-BE49-F238E27FC236}">
              <a16:creationId xmlns:a16="http://schemas.microsoft.com/office/drawing/2014/main" id="{8C011F40-AD43-99FE-A8B2-9F4A6A4591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" name="Google Shape;195;p1:notes">
            <a:extLst>
              <a:ext uri="{FF2B5EF4-FFF2-40B4-BE49-F238E27FC236}">
                <a16:creationId xmlns:a16="http://schemas.microsoft.com/office/drawing/2014/main" id="{904D1962-E5A3-3D38-153A-7067D32B5C1F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96" name="Google Shape;196;p1:notes">
            <a:extLst>
              <a:ext uri="{FF2B5EF4-FFF2-40B4-BE49-F238E27FC236}">
                <a16:creationId xmlns:a16="http://schemas.microsoft.com/office/drawing/2014/main" id="{00C00387-52EA-0AFA-AC90-73202BEDD664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7" name="Google Shape;197;p1:notes">
            <a:extLst>
              <a:ext uri="{FF2B5EF4-FFF2-40B4-BE49-F238E27FC236}">
                <a16:creationId xmlns:a16="http://schemas.microsoft.com/office/drawing/2014/main" id="{2CBA5438-700E-1FB1-9ACA-BF44E7D23907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48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369132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7">
          <a:extLst>
            <a:ext uri="{FF2B5EF4-FFF2-40B4-BE49-F238E27FC236}">
              <a16:creationId xmlns:a16="http://schemas.microsoft.com/office/drawing/2014/main" id="{90762D62-2287-06E7-6816-09A9257135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8" name="Google Shape;208;g344eaf56fbf_0_25:notes">
            <a:extLst>
              <a:ext uri="{FF2B5EF4-FFF2-40B4-BE49-F238E27FC236}">
                <a16:creationId xmlns:a16="http://schemas.microsoft.com/office/drawing/2014/main" id="{7F498797-2FD5-E7D4-AB2D-31F1878CBD9E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9" name="Google Shape;209;g344eaf56fbf_0_25:notes">
            <a:extLst>
              <a:ext uri="{FF2B5EF4-FFF2-40B4-BE49-F238E27FC236}">
                <a16:creationId xmlns:a16="http://schemas.microsoft.com/office/drawing/2014/main" id="{EDC655D8-EE3F-D2E7-D798-BC0BAB6372FB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0" name="Google Shape;210;g344eaf56fbf_0_25:notes">
            <a:extLst>
              <a:ext uri="{FF2B5EF4-FFF2-40B4-BE49-F238E27FC236}">
                <a16:creationId xmlns:a16="http://schemas.microsoft.com/office/drawing/2014/main" id="{50C298A4-0236-8A3C-EA70-C7FB526563FF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5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8562296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7">
          <a:extLst>
            <a:ext uri="{FF2B5EF4-FFF2-40B4-BE49-F238E27FC236}">
              <a16:creationId xmlns:a16="http://schemas.microsoft.com/office/drawing/2014/main" id="{59F0BB22-B006-F7E5-981D-0BBE1C8895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8" name="Google Shape;208;g344eaf56fbf_0_25:notes">
            <a:extLst>
              <a:ext uri="{FF2B5EF4-FFF2-40B4-BE49-F238E27FC236}">
                <a16:creationId xmlns:a16="http://schemas.microsoft.com/office/drawing/2014/main" id="{FAD71BED-2083-4B56-1446-A6521767DF62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9" name="Google Shape;209;g344eaf56fbf_0_25:notes">
            <a:extLst>
              <a:ext uri="{FF2B5EF4-FFF2-40B4-BE49-F238E27FC236}">
                <a16:creationId xmlns:a16="http://schemas.microsoft.com/office/drawing/2014/main" id="{2E6A0ABF-1BBB-63A9-CD05-FA7BC30ED7A0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0" name="Google Shape;210;g344eaf56fbf_0_25:notes">
            <a:extLst>
              <a:ext uri="{FF2B5EF4-FFF2-40B4-BE49-F238E27FC236}">
                <a16:creationId xmlns:a16="http://schemas.microsoft.com/office/drawing/2014/main" id="{70CFAF65-8022-5F33-A6DE-50EAFD37A9B3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6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0557688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" name="Google Shape;215;g344eaf56fbf_3_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6" name="Google Shape;216;g344eaf56fbf_3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2471136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D1E87F3-8504-5891-35A6-CA804F6EE6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F996A9D-DB19-C847-8B3A-0E2B2F9E3F3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ED737D6-9DB4-11C5-6DAF-DEF277949BE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get folders of an user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ld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th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lderPath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dated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lderUp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iz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tatu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'active'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dated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</a:p>
          <a:p>
            <a:endParaRPr lang="en-US" sz="1800" noProof="0" dirty="0">
              <a:solidFill>
                <a:srgbClr val="808080"/>
              </a:solidFill>
              <a:highlight>
                <a:srgbClr val="FFFFFF"/>
              </a:highlight>
              <a:latin typeface="Cascadia Mono" panose="020B0609020000020004" pitchFamily="49" charset="0"/>
              <a:cs typeface="Arial" panose="020B0604020202020204" pitchFamily="34" charset="0"/>
            </a:endParaRPr>
          </a:p>
          <a:p>
            <a:r>
              <a:rPr lang="en-US" sz="1800" dirty="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get files of an user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]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th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Path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ModifiedDat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Up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iz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t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tatu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'active'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ModifiedDat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562794-7A35-BE6C-E7C2-7CBC8192B4E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8817016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6E11CA-8066-93E1-ACC2-0D06DA7D43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609B8EC-E500-626F-2B84-F7DA6F9BDB4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68782B3-29B6-803B-00F7-95274AAFE25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get folders of an user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ld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th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lderPath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dated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lderUp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iz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tatu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'active'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dated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</a:p>
          <a:p>
            <a:endParaRPr lang="en-US" sz="1800" noProof="0" dirty="0">
              <a:solidFill>
                <a:srgbClr val="808080"/>
              </a:solidFill>
              <a:highlight>
                <a:srgbClr val="FFFFFF"/>
              </a:highlight>
              <a:latin typeface="Cascadia Mono" panose="020B0609020000020004" pitchFamily="49" charset="0"/>
              <a:cs typeface="Arial" panose="020B0604020202020204" pitchFamily="34" charset="0"/>
            </a:endParaRPr>
          </a:p>
          <a:p>
            <a:r>
              <a:rPr lang="en-US" sz="1800" dirty="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get files of an user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]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th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Path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ModifiedDat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Up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iz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t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tatu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'active'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ModifiedDat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1B561B-BB73-3A7C-B8B4-F4CBAF6D246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859321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7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7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7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7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7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7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7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7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7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7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ntro / End">
  <p:cSld name="Intro / End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52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7" name="Google Shape;17;p52"/>
          <p:cNvGrpSpPr/>
          <p:nvPr/>
        </p:nvGrpSpPr>
        <p:grpSpPr>
          <a:xfrm>
            <a:off x="2424000" y="3370961"/>
            <a:ext cx="7489526" cy="1214079"/>
            <a:chOff x="2424000" y="3370961"/>
            <a:chExt cx="7489526" cy="1214079"/>
          </a:xfrm>
        </p:grpSpPr>
        <p:pic>
          <p:nvPicPr>
            <p:cNvPr id="18" name="Google Shape;18;p5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2424000" y="3370961"/>
              <a:ext cx="7489526" cy="432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9" name="Google Shape;19;p52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2681512" y="4351040"/>
              <a:ext cx="6828977" cy="23400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3 image + white space for logo">
  <p:cSld name="Title, subtitle &amp; text with 1/3 image + white space for logo">
    <p:spTree>
      <p:nvGrpSpPr>
        <p:cNvPr id="1" name="Shape 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Google Shape;92;p61"/>
          <p:cNvSpPr>
            <a:spLocks noGrp="1"/>
          </p:cNvSpPr>
          <p:nvPr>
            <p:ph type="pic" idx="2"/>
          </p:nvPr>
        </p:nvSpPr>
        <p:spPr>
          <a:xfrm>
            <a:off x="8127598" y="1098000"/>
            <a:ext cx="4064402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93" name="Google Shape;93;p61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7263999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4" name="Google Shape;94;p61"/>
          <p:cNvSpPr txBox="1">
            <a:spLocks noGrp="1"/>
          </p:cNvSpPr>
          <p:nvPr>
            <p:ph type="body" idx="3"/>
          </p:nvPr>
        </p:nvSpPr>
        <p:spPr>
          <a:xfrm>
            <a:off x="431999" y="1530000"/>
            <a:ext cx="7263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5" name="Google Shape;95;p61"/>
          <p:cNvSpPr txBox="1">
            <a:spLocks noGrp="1"/>
          </p:cNvSpPr>
          <p:nvPr>
            <p:ph type="body" idx="4"/>
          </p:nvPr>
        </p:nvSpPr>
        <p:spPr>
          <a:xfrm>
            <a:off x="8581425" y="5131789"/>
            <a:ext cx="3178576" cy="1296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6" name="Google Shape;96;p6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4848">
          <p15:clr>
            <a:srgbClr val="FBAE40"/>
          </p15:clr>
        </p15:guide>
        <p15:guide id="8" pos="512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2 image">
  <p:cSld name="Title, subtitle &amp; text with 1/2 image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62"/>
          <p:cNvSpPr>
            <a:spLocks noGrp="1"/>
          </p:cNvSpPr>
          <p:nvPr>
            <p:ph type="pic" idx="2"/>
          </p:nvPr>
        </p:nvSpPr>
        <p:spPr>
          <a:xfrm>
            <a:off x="609600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99" name="Google Shape;99;p62"/>
          <p:cNvSpPr txBox="1">
            <a:spLocks noGrp="1"/>
          </p:cNvSpPr>
          <p:nvPr>
            <p:ph type="body" idx="1"/>
          </p:nvPr>
        </p:nvSpPr>
        <p:spPr>
          <a:xfrm>
            <a:off x="432000" y="2160001"/>
            <a:ext cx="5232200" cy="4267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0" name="Google Shape;100;p62"/>
          <p:cNvSpPr txBox="1">
            <a:spLocks noGrp="1"/>
          </p:cNvSpPr>
          <p:nvPr>
            <p:ph type="body" idx="3"/>
          </p:nvPr>
        </p:nvSpPr>
        <p:spPr>
          <a:xfrm>
            <a:off x="432000" y="1530000"/>
            <a:ext cx="52322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1" name="Google Shape;101;p62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orient="horz" pos="1359">
          <p15:clr>
            <a:srgbClr val="FBAE40"/>
          </p15:clr>
        </p15:guide>
        <p15:guide id="6" pos="3568">
          <p15:clr>
            <a:srgbClr val="FBAE40"/>
          </p15:clr>
        </p15:guide>
        <p15:guide id="7" pos="38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">
  <p:cSld name="Title, subtitle &amp; text">
    <p:spTree>
      <p:nvGrpSpPr>
        <p:cNvPr id="1" name="Shape 1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Google Shape;103;p63"/>
          <p:cNvSpPr txBox="1">
            <a:spLocks noGrp="1"/>
          </p:cNvSpPr>
          <p:nvPr>
            <p:ph type="body" idx="1"/>
          </p:nvPr>
        </p:nvSpPr>
        <p:spPr>
          <a:xfrm>
            <a:off x="431999" y="2160587"/>
            <a:ext cx="113292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4" name="Google Shape;104;p63"/>
          <p:cNvSpPr txBox="1">
            <a:spLocks noGrp="1"/>
          </p:cNvSpPr>
          <p:nvPr>
            <p:ph type="body" idx="2"/>
          </p:nvPr>
        </p:nvSpPr>
        <p:spPr>
          <a:xfrm>
            <a:off x="431999" y="1530000"/>
            <a:ext cx="113292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5" name="Google Shape;105;p63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stimonial">
  <p:cSld name="Testimonial">
    <p:spTree>
      <p:nvGrpSpPr>
        <p:cNvPr id="1" name="Shape 1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Google Shape;107;p64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08" name="Google Shape;108;p64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" name="Google Shape;109;p64"/>
          <p:cNvSpPr txBox="1">
            <a:spLocks noGrp="1"/>
          </p:cNvSpPr>
          <p:nvPr>
            <p:ph type="body" idx="1"/>
          </p:nvPr>
        </p:nvSpPr>
        <p:spPr>
          <a:xfrm>
            <a:off x="6529187" y="1528763"/>
            <a:ext cx="5232602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0" name="Google Shape;110;p64"/>
          <p:cNvSpPr txBox="1">
            <a:spLocks noGrp="1"/>
          </p:cNvSpPr>
          <p:nvPr>
            <p:ph type="body" idx="3"/>
          </p:nvPr>
        </p:nvSpPr>
        <p:spPr>
          <a:xfrm>
            <a:off x="864001" y="4365382"/>
            <a:ext cx="4798800" cy="2062406"/>
          </a:xfrm>
          <a:prstGeom prst="rect">
            <a:avLst/>
          </a:prstGeom>
          <a:solidFill>
            <a:schemeClr val="dk2">
              <a:alpha val="84705"/>
            </a:schemeClr>
          </a:solidFill>
          <a:ln>
            <a:noFill/>
          </a:ln>
        </p:spPr>
        <p:txBody>
          <a:bodyPr spcFirstLastPara="1" wrap="square" lIns="288000" tIns="288000" rIns="288000" bIns="288000" anchor="b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1" name="Google Shape;111;p64"/>
          <p:cNvSpPr txBox="1">
            <a:spLocks noGrp="1"/>
          </p:cNvSpPr>
          <p:nvPr>
            <p:ph type="body" idx="4"/>
          </p:nvPr>
        </p:nvSpPr>
        <p:spPr>
          <a:xfrm>
            <a:off x="864001" y="4238556"/>
            <a:ext cx="288000" cy="253652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" name="Google Shape;112;p64"/>
          <p:cNvSpPr txBox="1">
            <a:spLocks noGrp="1"/>
          </p:cNvSpPr>
          <p:nvPr>
            <p:ph type="body" idx="5"/>
          </p:nvPr>
        </p:nvSpPr>
        <p:spPr>
          <a:xfrm rot="10800000">
            <a:off x="5374801" y="6292522"/>
            <a:ext cx="288000" cy="253652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963">
          <p15:clr>
            <a:srgbClr val="FBAE40"/>
          </p15:clr>
        </p15:guide>
        <p15:guide id="3" pos="270">
          <p15:clr>
            <a:srgbClr val="FBAE40"/>
          </p15:clr>
        </p15:guide>
        <p15:guide id="4" orient="horz" pos="692">
          <p15:clr>
            <a:srgbClr val="FBAE40"/>
          </p15:clr>
        </p15:guide>
        <p15:guide id="5" orient="horz" pos="4049">
          <p15:clr>
            <a:srgbClr val="FBAE40"/>
          </p15:clr>
        </p15:guide>
        <p15:guide id="6" pos="7409">
          <p15:clr>
            <a:srgbClr val="FBAE40"/>
          </p15:clr>
        </p15:guide>
        <p15:guide id="7" pos="4112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text with image banner">
  <p:cSld name="Title &amp; text with image banner">
    <p:spTree>
      <p:nvGrpSpPr>
        <p:cNvPr id="1" name="Shape 1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Google Shape;114;p65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1944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15" name="Google Shape;115;p65"/>
          <p:cNvSpPr txBox="1">
            <a:spLocks noGrp="1"/>
          </p:cNvSpPr>
          <p:nvPr>
            <p:ph type="body" idx="1"/>
          </p:nvPr>
        </p:nvSpPr>
        <p:spPr>
          <a:xfrm>
            <a:off x="431999" y="3475239"/>
            <a:ext cx="11329789" cy="29525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6" name="Google Shape;116;p6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916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2187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3 texts">
  <p:cSld name="Title, subtitle &amp; 3 texts">
    <p:spTree>
      <p:nvGrpSpPr>
        <p:cNvPr id="1" name="Shape 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Google Shape;118;p66"/>
          <p:cNvSpPr txBox="1">
            <a:spLocks noGrp="1"/>
          </p:cNvSpPr>
          <p:nvPr>
            <p:ph type="body" idx="1"/>
          </p:nvPr>
        </p:nvSpPr>
        <p:spPr>
          <a:xfrm>
            <a:off x="432000" y="2160587"/>
            <a:ext cx="34880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9" name="Google Shape;119;p66"/>
          <p:cNvSpPr txBox="1">
            <a:spLocks noGrp="1"/>
          </p:cNvSpPr>
          <p:nvPr>
            <p:ph type="body" idx="2"/>
          </p:nvPr>
        </p:nvSpPr>
        <p:spPr>
          <a:xfrm>
            <a:off x="431999" y="1530000"/>
            <a:ext cx="34884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0" name="Google Shape;120;p6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1" name="Google Shape;121;p66"/>
          <p:cNvSpPr txBox="1">
            <a:spLocks noGrp="1"/>
          </p:cNvSpPr>
          <p:nvPr>
            <p:ph type="body" idx="3"/>
          </p:nvPr>
        </p:nvSpPr>
        <p:spPr>
          <a:xfrm>
            <a:off x="4352000" y="2160587"/>
            <a:ext cx="34880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2" name="Google Shape;122;p66"/>
          <p:cNvSpPr txBox="1">
            <a:spLocks noGrp="1"/>
          </p:cNvSpPr>
          <p:nvPr>
            <p:ph type="body" idx="4"/>
          </p:nvPr>
        </p:nvSpPr>
        <p:spPr>
          <a:xfrm>
            <a:off x="4351600" y="1530000"/>
            <a:ext cx="34884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3" name="Google Shape;123;p66"/>
          <p:cNvSpPr txBox="1">
            <a:spLocks noGrp="1"/>
          </p:cNvSpPr>
          <p:nvPr>
            <p:ph type="body" idx="5"/>
          </p:nvPr>
        </p:nvSpPr>
        <p:spPr>
          <a:xfrm>
            <a:off x="8272000" y="2160587"/>
            <a:ext cx="34880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4" name="Google Shape;124;p66"/>
          <p:cNvSpPr txBox="1">
            <a:spLocks noGrp="1"/>
          </p:cNvSpPr>
          <p:nvPr>
            <p:ph type="body" idx="6"/>
          </p:nvPr>
        </p:nvSpPr>
        <p:spPr>
          <a:xfrm>
            <a:off x="8272000" y="1530000"/>
            <a:ext cx="34884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ood slide / full-screen">
  <p:cSld name="Mood slide / full-screen">
    <p:spTree>
      <p:nvGrpSpPr>
        <p:cNvPr id="1" name="Shape 1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" name="Google Shape;126;p67"/>
          <p:cNvSpPr>
            <a:spLocks noGrp="1"/>
          </p:cNvSpPr>
          <p:nvPr>
            <p:ph type="pic" idx="2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7" name="Google Shape;127;p67"/>
          <p:cNvSpPr txBox="1">
            <a:spLocks noGrp="1"/>
          </p:cNvSpPr>
          <p:nvPr>
            <p:ph type="body" idx="1"/>
          </p:nvPr>
        </p:nvSpPr>
        <p:spPr>
          <a:xfrm>
            <a:off x="432000" y="1098000"/>
            <a:ext cx="8640000" cy="1487991"/>
          </a:xfrm>
          <a:prstGeom prst="rect">
            <a:avLst/>
          </a:prstGeom>
          <a:solidFill>
            <a:schemeClr val="dk2">
              <a:alpha val="84705"/>
            </a:schemeClr>
          </a:solidFill>
          <a:ln>
            <a:noFill/>
          </a:ln>
        </p:spPr>
        <p:txBody>
          <a:bodyPr spcFirstLastPara="1" wrap="square" lIns="432000" tIns="432000" rIns="432000" bIns="43200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8" name="Google Shape;128;p67"/>
          <p:cNvSpPr txBox="1">
            <a:spLocks noGrp="1"/>
          </p:cNvSpPr>
          <p:nvPr>
            <p:ph type="body" idx="3"/>
          </p:nvPr>
        </p:nvSpPr>
        <p:spPr>
          <a:xfrm>
            <a:off x="10841432" y="172618"/>
            <a:ext cx="1350568" cy="684364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5715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with image">
  <p:cSld name="Title with image">
    <p:spTree>
      <p:nvGrpSpPr>
        <p:cNvPr id="1" name="Shape 1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" name="Google Shape;130;p68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31" name="Google Shape;131;p6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orient="horz" pos="692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(1)">
  <p:cSld name="Contact slide (1)">
    <p:spTree>
      <p:nvGrpSpPr>
        <p:cNvPr id="1" name="Shape 1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" name="Google Shape;133;p69"/>
          <p:cNvPicPr preferRelativeResize="0">
            <a:picLocks noGrp="1"/>
          </p:cNvPicPr>
          <p:nvPr>
            <p:ph type="pic" idx="2"/>
          </p:nvPr>
        </p:nvPicPr>
        <p:blipFill/>
        <p:spPr>
          <a:xfrm>
            <a:off x="9146400" y="1098000"/>
            <a:ext cx="3045600" cy="57600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</p:pic>
      <p:sp>
        <p:nvSpPr>
          <p:cNvPr id="134" name="Google Shape;134;p69"/>
          <p:cNvSpPr txBox="1">
            <a:spLocks noGrp="1"/>
          </p:cNvSpPr>
          <p:nvPr>
            <p:ph type="body" idx="1"/>
          </p:nvPr>
        </p:nvSpPr>
        <p:spPr>
          <a:xfrm>
            <a:off x="3455998" y="2016000"/>
            <a:ext cx="5255944" cy="3018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5" name="Google Shape;135;p69"/>
          <p:cNvSpPr txBox="1">
            <a:spLocks noGrp="1"/>
          </p:cNvSpPr>
          <p:nvPr>
            <p:ph type="body" idx="3"/>
          </p:nvPr>
        </p:nvSpPr>
        <p:spPr>
          <a:xfrm>
            <a:off x="3455998" y="1520825"/>
            <a:ext cx="525594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6" name="Google Shape;136;p69"/>
          <p:cNvSpPr>
            <a:spLocks noGrp="1"/>
          </p:cNvSpPr>
          <p:nvPr>
            <p:ph type="pic" idx="4"/>
          </p:nvPr>
        </p:nvSpPr>
        <p:spPr>
          <a:xfrm>
            <a:off x="432000" y="1530000"/>
            <a:ext cx="2160000" cy="216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37" name="Google Shape;137;p69"/>
          <p:cNvSpPr txBox="1">
            <a:spLocks noGrp="1"/>
          </p:cNvSpPr>
          <p:nvPr>
            <p:ph type="body" idx="5"/>
          </p:nvPr>
        </p:nvSpPr>
        <p:spPr>
          <a:xfrm>
            <a:off x="3455998" y="2847527"/>
            <a:ext cx="5255944" cy="11396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8" name="Google Shape;138;p69"/>
          <p:cNvSpPr txBox="1">
            <a:spLocks noGrp="1"/>
          </p:cNvSpPr>
          <p:nvPr>
            <p:ph type="body" idx="6"/>
          </p:nvPr>
        </p:nvSpPr>
        <p:spPr>
          <a:xfrm>
            <a:off x="3455998" y="4535936"/>
            <a:ext cx="5255944" cy="18918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9" name="Google Shape;139;p69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576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(2)">
  <p:cSld name="Contact slide (2)">
    <p:spTree>
      <p:nvGrpSpPr>
        <p:cNvPr id="1" name="Shape 1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1" name="Google Shape;141;p70"/>
          <p:cNvPicPr preferRelativeResize="0">
            <a:picLocks noGrp="1"/>
          </p:cNvPicPr>
          <p:nvPr>
            <p:ph type="pic" idx="2"/>
          </p:nvPr>
        </p:nvPicPr>
        <p:blipFill/>
        <p:spPr>
          <a:xfrm>
            <a:off x="9146400" y="1098000"/>
            <a:ext cx="3045600" cy="57600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</p:pic>
      <p:sp>
        <p:nvSpPr>
          <p:cNvPr id="142" name="Google Shape;142;p70"/>
          <p:cNvSpPr txBox="1">
            <a:spLocks noGrp="1"/>
          </p:cNvSpPr>
          <p:nvPr>
            <p:ph type="body" idx="1"/>
          </p:nvPr>
        </p:nvSpPr>
        <p:spPr>
          <a:xfrm>
            <a:off x="434458" y="4876301"/>
            <a:ext cx="3920284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3" name="Google Shape;143;p70"/>
          <p:cNvSpPr txBox="1">
            <a:spLocks noGrp="1"/>
          </p:cNvSpPr>
          <p:nvPr>
            <p:ph type="body" idx="3"/>
          </p:nvPr>
        </p:nvSpPr>
        <p:spPr>
          <a:xfrm>
            <a:off x="4791658" y="4876301"/>
            <a:ext cx="3920284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4" name="Google Shape;144;p70"/>
          <p:cNvSpPr txBox="1">
            <a:spLocks noGrp="1"/>
          </p:cNvSpPr>
          <p:nvPr>
            <p:ph type="body" idx="4"/>
          </p:nvPr>
        </p:nvSpPr>
        <p:spPr>
          <a:xfrm>
            <a:off x="434458" y="3842876"/>
            <a:ext cx="3920284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5" name="Google Shape;145;p70"/>
          <p:cNvSpPr txBox="1">
            <a:spLocks noGrp="1"/>
          </p:cNvSpPr>
          <p:nvPr>
            <p:ph type="body" idx="5"/>
          </p:nvPr>
        </p:nvSpPr>
        <p:spPr>
          <a:xfrm>
            <a:off x="432000" y="3347701"/>
            <a:ext cx="392028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6" name="Google Shape;146;p70"/>
          <p:cNvSpPr>
            <a:spLocks noGrp="1"/>
          </p:cNvSpPr>
          <p:nvPr>
            <p:ph type="pic" idx="6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7" name="Google Shape;147;p70"/>
          <p:cNvSpPr>
            <a:spLocks noGrp="1"/>
          </p:cNvSpPr>
          <p:nvPr>
            <p:ph type="pic" idx="7"/>
          </p:nvPr>
        </p:nvSpPr>
        <p:spPr>
          <a:xfrm>
            <a:off x="4791658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8" name="Google Shape;148;p70"/>
          <p:cNvSpPr txBox="1">
            <a:spLocks noGrp="1"/>
          </p:cNvSpPr>
          <p:nvPr>
            <p:ph type="body" idx="8"/>
          </p:nvPr>
        </p:nvSpPr>
        <p:spPr>
          <a:xfrm>
            <a:off x="4791658" y="3842876"/>
            <a:ext cx="3920284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9" name="Google Shape;149;p70"/>
          <p:cNvSpPr txBox="1">
            <a:spLocks noGrp="1"/>
          </p:cNvSpPr>
          <p:nvPr>
            <p:ph type="body" idx="9"/>
          </p:nvPr>
        </p:nvSpPr>
        <p:spPr>
          <a:xfrm>
            <a:off x="4791658" y="3347701"/>
            <a:ext cx="392028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0" name="Google Shape;150;p70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576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>
  <p:cSld name="Title Slide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53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" name="Google Shape;22;p53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21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23" name="Google Shape;23;p53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2"/>
                </a:solidFill>
              </a:defRPr>
            </a:lvl1pPr>
            <a:lvl2pPr lvl="1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4" name="Google Shape;24;p53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75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  <a:defRPr sz="48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7409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(3)">
  <p:cSld name="Contact slide (3)">
    <p:spTree>
      <p:nvGrpSpPr>
        <p:cNvPr id="1" name="Shape 1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" name="Google Shape;152;p71"/>
          <p:cNvSpPr txBox="1">
            <a:spLocks noGrp="1"/>
          </p:cNvSpPr>
          <p:nvPr>
            <p:ph type="body" idx="1"/>
          </p:nvPr>
        </p:nvSpPr>
        <p:spPr>
          <a:xfrm>
            <a:off x="436100" y="4876301"/>
            <a:ext cx="3479800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3" name="Google Shape;153;p71"/>
          <p:cNvSpPr txBox="1">
            <a:spLocks noGrp="1"/>
          </p:cNvSpPr>
          <p:nvPr>
            <p:ph type="body" idx="2"/>
          </p:nvPr>
        </p:nvSpPr>
        <p:spPr>
          <a:xfrm>
            <a:off x="4356100" y="4876301"/>
            <a:ext cx="3479800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4" name="Google Shape;154;p71"/>
          <p:cNvSpPr txBox="1">
            <a:spLocks noGrp="1"/>
          </p:cNvSpPr>
          <p:nvPr>
            <p:ph type="body" idx="3"/>
          </p:nvPr>
        </p:nvSpPr>
        <p:spPr>
          <a:xfrm>
            <a:off x="431999" y="3842876"/>
            <a:ext cx="3479800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5" name="Google Shape;155;p71"/>
          <p:cNvSpPr txBox="1">
            <a:spLocks noGrp="1"/>
          </p:cNvSpPr>
          <p:nvPr>
            <p:ph type="body" idx="4"/>
          </p:nvPr>
        </p:nvSpPr>
        <p:spPr>
          <a:xfrm>
            <a:off x="431999" y="3347701"/>
            <a:ext cx="3479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6" name="Google Shape;156;p71"/>
          <p:cNvSpPr>
            <a:spLocks noGrp="1"/>
          </p:cNvSpPr>
          <p:nvPr>
            <p:ph type="pic" idx="5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57" name="Google Shape;157;p71"/>
          <p:cNvSpPr>
            <a:spLocks noGrp="1"/>
          </p:cNvSpPr>
          <p:nvPr>
            <p:ph type="pic" idx="6"/>
          </p:nvPr>
        </p:nvSpPr>
        <p:spPr>
          <a:xfrm>
            <a:off x="4356100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58" name="Google Shape;158;p71"/>
          <p:cNvSpPr txBox="1">
            <a:spLocks noGrp="1"/>
          </p:cNvSpPr>
          <p:nvPr>
            <p:ph type="body" idx="7"/>
          </p:nvPr>
        </p:nvSpPr>
        <p:spPr>
          <a:xfrm>
            <a:off x="4356100" y="3842876"/>
            <a:ext cx="3479800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9" name="Google Shape;159;p71"/>
          <p:cNvSpPr txBox="1">
            <a:spLocks noGrp="1"/>
          </p:cNvSpPr>
          <p:nvPr>
            <p:ph type="body" idx="8"/>
          </p:nvPr>
        </p:nvSpPr>
        <p:spPr>
          <a:xfrm>
            <a:off x="4356100" y="3347701"/>
            <a:ext cx="3479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0" name="Google Shape;160;p71"/>
          <p:cNvSpPr txBox="1">
            <a:spLocks noGrp="1"/>
          </p:cNvSpPr>
          <p:nvPr>
            <p:ph type="body" idx="9"/>
          </p:nvPr>
        </p:nvSpPr>
        <p:spPr>
          <a:xfrm>
            <a:off x="8278813" y="4876301"/>
            <a:ext cx="3479800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1" name="Google Shape;161;p71"/>
          <p:cNvSpPr>
            <a:spLocks noGrp="1"/>
          </p:cNvSpPr>
          <p:nvPr>
            <p:ph type="pic" idx="13"/>
          </p:nvPr>
        </p:nvSpPr>
        <p:spPr>
          <a:xfrm>
            <a:off x="8278813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62" name="Google Shape;162;p71"/>
          <p:cNvSpPr txBox="1">
            <a:spLocks noGrp="1"/>
          </p:cNvSpPr>
          <p:nvPr>
            <p:ph type="body" idx="14"/>
          </p:nvPr>
        </p:nvSpPr>
        <p:spPr>
          <a:xfrm>
            <a:off x="8278813" y="3842876"/>
            <a:ext cx="3479800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3" name="Google Shape;163;p71"/>
          <p:cNvSpPr txBox="1">
            <a:spLocks noGrp="1"/>
          </p:cNvSpPr>
          <p:nvPr>
            <p:ph type="body" idx="15"/>
          </p:nvPr>
        </p:nvSpPr>
        <p:spPr>
          <a:xfrm>
            <a:off x="8278813" y="3347701"/>
            <a:ext cx="3479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4" name="Google Shape;164;p7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2 texts">
  <p:cSld name="Title, subtitle &amp; 2 texts">
    <p:spTree>
      <p:nvGrpSpPr>
        <p:cNvPr id="1" name="Shape 1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" name="Google Shape;166;p72"/>
          <p:cNvSpPr txBox="1">
            <a:spLocks noGrp="1"/>
          </p:cNvSpPr>
          <p:nvPr>
            <p:ph type="body" idx="1"/>
          </p:nvPr>
        </p:nvSpPr>
        <p:spPr>
          <a:xfrm>
            <a:off x="432000" y="2160587"/>
            <a:ext cx="5447999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7" name="Google Shape;167;p72"/>
          <p:cNvSpPr txBox="1">
            <a:spLocks noGrp="1"/>
          </p:cNvSpPr>
          <p:nvPr>
            <p:ph type="body" idx="2"/>
          </p:nvPr>
        </p:nvSpPr>
        <p:spPr>
          <a:xfrm>
            <a:off x="432000" y="1530000"/>
            <a:ext cx="5447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8" name="Google Shape;168;p72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9" name="Google Shape;169;p72"/>
          <p:cNvSpPr txBox="1">
            <a:spLocks noGrp="1"/>
          </p:cNvSpPr>
          <p:nvPr>
            <p:ph type="body" idx="3"/>
          </p:nvPr>
        </p:nvSpPr>
        <p:spPr>
          <a:xfrm>
            <a:off x="6312000" y="2160587"/>
            <a:ext cx="5449788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0" name="Google Shape;170;p72"/>
          <p:cNvSpPr txBox="1">
            <a:spLocks noGrp="1"/>
          </p:cNvSpPr>
          <p:nvPr>
            <p:ph type="body" idx="4"/>
          </p:nvPr>
        </p:nvSpPr>
        <p:spPr>
          <a:xfrm>
            <a:off x="6312000" y="1530000"/>
            <a:ext cx="5449788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3974">
          <p15:clr>
            <a:srgbClr val="FBAE40"/>
          </p15:clr>
        </p15:guide>
        <p15:guide id="8" pos="3705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with customer logo">
  <p:cSld name="Title slide with customer logo">
    <p:spTree>
      <p:nvGrpSpPr>
        <p:cNvPr id="1" name="Shape 1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Google Shape;172;p73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3" name="Google Shape;173;p73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21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74" name="Google Shape;174;p73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2"/>
                </a:solidFill>
              </a:defRPr>
            </a:lvl1pPr>
            <a:lvl2pPr lvl="1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75" name="Google Shape;175;p73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75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  <a:defRPr sz="48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6" name="Google Shape;176;p73"/>
          <p:cNvSpPr txBox="1">
            <a:spLocks noGrp="1"/>
          </p:cNvSpPr>
          <p:nvPr>
            <p:ph type="body" idx="3"/>
          </p:nvPr>
        </p:nvSpPr>
        <p:spPr>
          <a:xfrm>
            <a:off x="9169200" y="1962000"/>
            <a:ext cx="2592000" cy="1296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7409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text">
  <p:cSld name="Title &amp; text">
    <p:spTree>
      <p:nvGrpSpPr>
        <p:cNvPr id="1" name="Shape 1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8" name="Google Shape;178;p74"/>
          <p:cNvSpPr txBox="1">
            <a:spLocks noGrp="1"/>
          </p:cNvSpPr>
          <p:nvPr>
            <p:ph type="body" idx="1"/>
          </p:nvPr>
        </p:nvSpPr>
        <p:spPr>
          <a:xfrm>
            <a:off x="431999" y="1528763"/>
            <a:ext cx="11329200" cy="4899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9" name="Google Shape;179;p74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3 image">
  <p:cSld name="Title, subtitle &amp; text with 1/3 image">
    <p:spTree>
      <p:nvGrpSpPr>
        <p:cNvPr id="1" name="Shape 1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" name="Google Shape;181;p75"/>
          <p:cNvSpPr>
            <a:spLocks noGrp="1"/>
          </p:cNvSpPr>
          <p:nvPr>
            <p:ph type="pic" idx="2"/>
          </p:nvPr>
        </p:nvSpPr>
        <p:spPr>
          <a:xfrm>
            <a:off x="8127598" y="1098000"/>
            <a:ext cx="4064402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82" name="Google Shape;182;p75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7263999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3" name="Google Shape;183;p75"/>
          <p:cNvSpPr txBox="1">
            <a:spLocks noGrp="1"/>
          </p:cNvSpPr>
          <p:nvPr>
            <p:ph type="body" idx="3"/>
          </p:nvPr>
        </p:nvSpPr>
        <p:spPr>
          <a:xfrm>
            <a:off x="431999" y="1530000"/>
            <a:ext cx="7263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4" name="Google Shape;184;p7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4848">
          <p15:clr>
            <a:srgbClr val="FBAE40"/>
          </p15:clr>
        </p15:guide>
        <p15:guide id="8" pos="512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4 image">
  <p:cSld name="Title, subtitle &amp; text with 1/4 image">
    <p:spTree>
      <p:nvGrpSpPr>
        <p:cNvPr id="1" name="Shape 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" name="Google Shape;186;p76"/>
          <p:cNvSpPr>
            <a:spLocks noGrp="1"/>
          </p:cNvSpPr>
          <p:nvPr>
            <p:ph type="pic" idx="2"/>
          </p:nvPr>
        </p:nvSpPr>
        <p:spPr>
          <a:xfrm>
            <a:off x="9146400" y="1098000"/>
            <a:ext cx="30456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87" name="Google Shape;187;p76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8285287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8" name="Google Shape;188;p76"/>
          <p:cNvSpPr txBox="1">
            <a:spLocks noGrp="1"/>
          </p:cNvSpPr>
          <p:nvPr>
            <p:ph type="body" idx="3"/>
          </p:nvPr>
        </p:nvSpPr>
        <p:spPr>
          <a:xfrm>
            <a:off x="431999" y="1530000"/>
            <a:ext cx="8286551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9" name="Google Shape;189;p7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492">
          <p15:clr>
            <a:srgbClr val="FBAE40"/>
          </p15:clr>
        </p15:guide>
        <p15:guide id="8" pos="5762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1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" name="Google Shape;191;g36f76ef2d7d_1_56"/>
          <p:cNvSpPr txBox="1">
            <a:spLocks noGrp="1"/>
          </p:cNvSpPr>
          <p:nvPr>
            <p:ph type="ctrTitle"/>
          </p:nvPr>
        </p:nvSpPr>
        <p:spPr>
          <a:xfrm>
            <a:off x="415611" y="992767"/>
            <a:ext cx="11360700" cy="27369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6900"/>
              <a:buNone/>
              <a:defRPr sz="6900"/>
            </a:lvl1pPr>
            <a:lvl2pPr lvl="1" algn="ctr">
              <a:spcBef>
                <a:spcPts val="0"/>
              </a:spcBef>
              <a:spcAft>
                <a:spcPts val="0"/>
              </a:spcAft>
              <a:buSzPts val="6900"/>
              <a:buNone/>
              <a:defRPr sz="6900"/>
            </a:lvl2pPr>
            <a:lvl3pPr lvl="2" algn="ctr">
              <a:spcBef>
                <a:spcPts val="0"/>
              </a:spcBef>
              <a:spcAft>
                <a:spcPts val="0"/>
              </a:spcAft>
              <a:buSzPts val="6900"/>
              <a:buNone/>
              <a:defRPr sz="6900"/>
            </a:lvl3pPr>
            <a:lvl4pPr lvl="3" algn="ctr">
              <a:spcBef>
                <a:spcPts val="0"/>
              </a:spcBef>
              <a:spcAft>
                <a:spcPts val="0"/>
              </a:spcAft>
              <a:buSzPts val="6900"/>
              <a:buNone/>
              <a:defRPr sz="6900"/>
            </a:lvl4pPr>
            <a:lvl5pPr lvl="4" algn="ctr">
              <a:spcBef>
                <a:spcPts val="0"/>
              </a:spcBef>
              <a:spcAft>
                <a:spcPts val="0"/>
              </a:spcAft>
              <a:buSzPts val="6900"/>
              <a:buNone/>
              <a:defRPr sz="6900"/>
            </a:lvl5pPr>
            <a:lvl6pPr lvl="5" algn="ctr">
              <a:spcBef>
                <a:spcPts val="0"/>
              </a:spcBef>
              <a:spcAft>
                <a:spcPts val="0"/>
              </a:spcAft>
              <a:buSzPts val="6900"/>
              <a:buNone/>
              <a:defRPr sz="6900"/>
            </a:lvl6pPr>
            <a:lvl7pPr lvl="6" algn="ctr">
              <a:spcBef>
                <a:spcPts val="0"/>
              </a:spcBef>
              <a:spcAft>
                <a:spcPts val="0"/>
              </a:spcAft>
              <a:buSzPts val="6900"/>
              <a:buNone/>
              <a:defRPr sz="6900"/>
            </a:lvl7pPr>
            <a:lvl8pPr lvl="7" algn="ctr">
              <a:spcBef>
                <a:spcPts val="0"/>
              </a:spcBef>
              <a:spcAft>
                <a:spcPts val="0"/>
              </a:spcAft>
              <a:buSzPts val="6900"/>
              <a:buNone/>
              <a:defRPr sz="6900"/>
            </a:lvl8pPr>
            <a:lvl9pPr lvl="8" algn="ctr">
              <a:spcBef>
                <a:spcPts val="0"/>
              </a:spcBef>
              <a:spcAft>
                <a:spcPts val="0"/>
              </a:spcAft>
              <a:buSzPts val="6900"/>
              <a:buNone/>
              <a:defRPr sz="6900"/>
            </a:lvl9pPr>
          </a:lstStyle>
          <a:p>
            <a:endParaRPr/>
          </a:p>
        </p:txBody>
      </p:sp>
      <p:sp>
        <p:nvSpPr>
          <p:cNvPr id="192" name="Google Shape;192;g36f76ef2d7d_1_56"/>
          <p:cNvSpPr txBox="1">
            <a:spLocks noGrp="1"/>
          </p:cNvSpPr>
          <p:nvPr>
            <p:ph type="subTitle" idx="1"/>
          </p:nvPr>
        </p:nvSpPr>
        <p:spPr>
          <a:xfrm>
            <a:off x="415600" y="3778833"/>
            <a:ext cx="11360700" cy="1056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6pPr>
            <a:lvl7pPr lvl="6" algn="ctr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3700"/>
              <a:buNone/>
              <a:defRPr sz="3700"/>
            </a:lvl7pPr>
            <a:lvl8pPr lvl="7" algn="ctr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3700"/>
              <a:buNone/>
              <a:defRPr sz="3700"/>
            </a:lvl8pPr>
            <a:lvl9pPr lvl="8" algn="ctr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3700"/>
              <a:buNone/>
              <a:defRPr sz="3700"/>
            </a:lvl9pPr>
          </a:lstStyle>
          <a:p>
            <a:endParaRPr/>
          </a:p>
        </p:txBody>
      </p:sp>
      <p:sp>
        <p:nvSpPr>
          <p:cNvPr id="193" name="Google Shape;193;g36f76ef2d7d_1_56"/>
          <p:cNvSpPr txBox="1">
            <a:spLocks noGrp="1"/>
          </p:cNvSpPr>
          <p:nvPr>
            <p:ph type="sldNum" idx="12"/>
          </p:nvPr>
        </p:nvSpPr>
        <p:spPr>
          <a:xfrm>
            <a:off x="11296610" y="6217622"/>
            <a:ext cx="731700" cy="524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427476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5404858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36308445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genda">
  <p:cSld name="Agenda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54"/>
          <p:cNvSpPr>
            <a:spLocks noGrp="1"/>
          </p:cNvSpPr>
          <p:nvPr>
            <p:ph type="pic" idx="2"/>
          </p:nvPr>
        </p:nvSpPr>
        <p:spPr>
          <a:xfrm>
            <a:off x="609600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27" name="Google Shape;27;p54"/>
          <p:cNvSpPr txBox="1">
            <a:spLocks noGrp="1"/>
          </p:cNvSpPr>
          <p:nvPr>
            <p:ph type="body" idx="1"/>
          </p:nvPr>
        </p:nvSpPr>
        <p:spPr>
          <a:xfrm>
            <a:off x="432000" y="1530000"/>
            <a:ext cx="5232000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77190" algn="l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ts val="2340"/>
              <a:buFont typeface="Arial"/>
              <a:buAutoNum type="arabicPeriod"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600"/>
              <a:buNone/>
              <a:defRPr sz="1600"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" name="Google Shape;28;p54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92">
          <p15:clr>
            <a:srgbClr val="FBAE40"/>
          </p15:clr>
        </p15:guide>
        <p15:guide id="2" pos="270">
          <p15:clr>
            <a:srgbClr val="FBAE40"/>
          </p15:clr>
        </p15:guide>
        <p15:guide id="3" pos="3839">
          <p15:clr>
            <a:srgbClr val="FBAE40"/>
          </p15:clr>
        </p15:guide>
        <p15:guide id="4" orient="horz" pos="4047">
          <p15:clr>
            <a:srgbClr val="FBAE40"/>
          </p15:clr>
        </p15:guide>
        <p15:guide id="5" orient="horz" pos="963">
          <p15:clr>
            <a:srgbClr val="FBAE40"/>
          </p15:clr>
        </p15:guide>
        <p15:guide id="6" pos="3567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19967485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26726001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39372165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40329481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38142530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slide with custom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3805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18B174F-64CB-F020-88E2-1F63BD8A9992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24" name="Text Placeholder 43">
            <a:extLst>
              <a:ext uri="{FF2B5EF4-FFF2-40B4-BE49-F238E27FC236}">
                <a16:creationId xmlns:a16="http://schemas.microsoft.com/office/drawing/2014/main" id="{BDEA299F-CF48-A5F1-3781-1AB2A986B4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69200" y="1962000"/>
            <a:ext cx="2592000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012769701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>
          <p15:clr>
            <a:srgbClr val="FBAE40"/>
          </p15:clr>
        </p15:guide>
        <p15:guide id="7" pos="7409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hapt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5909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hapter 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359905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>
          <p15:clr>
            <a:srgbClr val="FBAE40"/>
          </p15:clr>
        </p15:guide>
        <p15:guide id="7" pos="740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5x">
  <p:cSld name="Participant 5x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55"/>
          <p:cNvSpPr>
            <a:spLocks noGrp="1"/>
          </p:cNvSpPr>
          <p:nvPr>
            <p:ph type="pic" idx="2"/>
          </p:nvPr>
        </p:nvSpPr>
        <p:spPr>
          <a:xfrm>
            <a:off x="3224666" y="3812592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31" name="Google Shape;31;p55"/>
          <p:cNvSpPr>
            <a:spLocks noGrp="1"/>
          </p:cNvSpPr>
          <p:nvPr>
            <p:ph type="pic" idx="3"/>
          </p:nvPr>
        </p:nvSpPr>
        <p:spPr>
          <a:xfrm>
            <a:off x="7525966" y="3812592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32" name="Google Shape;32;p55"/>
          <p:cNvSpPr>
            <a:spLocks noGrp="1"/>
          </p:cNvSpPr>
          <p:nvPr>
            <p:ph type="pic" idx="4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33" name="Google Shape;33;p55"/>
          <p:cNvSpPr txBox="1">
            <a:spLocks noGrp="1"/>
          </p:cNvSpPr>
          <p:nvPr>
            <p:ph type="body" idx="1"/>
          </p:nvPr>
        </p:nvSpPr>
        <p:spPr>
          <a:xfrm>
            <a:off x="490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" name="Google Shape;34;p55"/>
          <p:cNvSpPr txBox="1">
            <a:spLocks noGrp="1"/>
          </p:cNvSpPr>
          <p:nvPr>
            <p:ph type="body" idx="5"/>
          </p:nvPr>
        </p:nvSpPr>
        <p:spPr>
          <a:xfrm>
            <a:off x="4804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" name="Google Shape;35;p55"/>
          <p:cNvSpPr txBox="1">
            <a:spLocks noGrp="1"/>
          </p:cNvSpPr>
          <p:nvPr>
            <p:ph type="body" idx="6"/>
          </p:nvPr>
        </p:nvSpPr>
        <p:spPr>
          <a:xfrm>
            <a:off x="490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" name="Google Shape;36;p55"/>
          <p:cNvSpPr txBox="1">
            <a:spLocks noGrp="1"/>
          </p:cNvSpPr>
          <p:nvPr>
            <p:ph type="body" idx="7"/>
          </p:nvPr>
        </p:nvSpPr>
        <p:spPr>
          <a:xfrm>
            <a:off x="4804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" name="Google Shape;37;p55"/>
          <p:cNvSpPr>
            <a:spLocks noGrp="1"/>
          </p:cNvSpPr>
          <p:nvPr>
            <p:ph type="pic" idx="8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38" name="Google Shape;38;p55"/>
          <p:cNvSpPr>
            <a:spLocks noGrp="1"/>
          </p:cNvSpPr>
          <p:nvPr>
            <p:ph type="pic" idx="9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39" name="Google Shape;39;p55"/>
          <p:cNvSpPr txBox="1">
            <a:spLocks noGrp="1"/>
          </p:cNvSpPr>
          <p:nvPr>
            <p:ph type="body" idx="13"/>
          </p:nvPr>
        </p:nvSpPr>
        <p:spPr>
          <a:xfrm>
            <a:off x="9112746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" name="Google Shape;40;p55"/>
          <p:cNvSpPr txBox="1">
            <a:spLocks noGrp="1"/>
          </p:cNvSpPr>
          <p:nvPr>
            <p:ph type="body" idx="14"/>
          </p:nvPr>
        </p:nvSpPr>
        <p:spPr>
          <a:xfrm>
            <a:off x="9112746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" name="Google Shape;41;p55"/>
          <p:cNvSpPr txBox="1">
            <a:spLocks noGrp="1"/>
          </p:cNvSpPr>
          <p:nvPr>
            <p:ph type="body" idx="15"/>
          </p:nvPr>
        </p:nvSpPr>
        <p:spPr>
          <a:xfrm>
            <a:off x="2653201" y="5451145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" name="Google Shape;42;p55"/>
          <p:cNvSpPr txBox="1">
            <a:spLocks noGrp="1"/>
          </p:cNvSpPr>
          <p:nvPr>
            <p:ph type="body" idx="16"/>
          </p:nvPr>
        </p:nvSpPr>
        <p:spPr>
          <a:xfrm>
            <a:off x="2653201" y="5797901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3" name="Google Shape;43;p55"/>
          <p:cNvSpPr txBox="1">
            <a:spLocks noGrp="1"/>
          </p:cNvSpPr>
          <p:nvPr>
            <p:ph type="body" idx="17"/>
          </p:nvPr>
        </p:nvSpPr>
        <p:spPr>
          <a:xfrm>
            <a:off x="6954501" y="5451145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4" name="Google Shape;44;p55"/>
          <p:cNvSpPr txBox="1">
            <a:spLocks noGrp="1"/>
          </p:cNvSpPr>
          <p:nvPr>
            <p:ph type="body" idx="18"/>
          </p:nvPr>
        </p:nvSpPr>
        <p:spPr>
          <a:xfrm>
            <a:off x="6954501" y="5797901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5" name="Google Shape;45;p5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4x">
  <p:cSld name="Participant 4x">
    <p:spTree>
      <p:nvGrpSpPr>
        <p:cNvPr id="1" name="Shape 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Google Shape;47;p56"/>
          <p:cNvSpPr>
            <a:spLocks noGrp="1"/>
          </p:cNvSpPr>
          <p:nvPr>
            <p:ph type="pic" idx="2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48" name="Google Shape;48;p56"/>
          <p:cNvSpPr>
            <a:spLocks noGrp="1"/>
          </p:cNvSpPr>
          <p:nvPr>
            <p:ph type="pic" idx="3"/>
          </p:nvPr>
        </p:nvSpPr>
        <p:spPr>
          <a:xfrm>
            <a:off x="392969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49" name="Google Shape;49;p56"/>
          <p:cNvSpPr>
            <a:spLocks noGrp="1"/>
          </p:cNvSpPr>
          <p:nvPr>
            <p:ph type="pic" idx="4"/>
          </p:nvPr>
        </p:nvSpPr>
        <p:spPr>
          <a:xfrm>
            <a:off x="6822312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50" name="Google Shape;50;p56"/>
          <p:cNvSpPr txBox="1">
            <a:spLocks noGrp="1"/>
          </p:cNvSpPr>
          <p:nvPr>
            <p:ph type="body" idx="1"/>
          </p:nvPr>
        </p:nvSpPr>
        <p:spPr>
          <a:xfrm>
            <a:off x="490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" name="Google Shape;51;p56"/>
          <p:cNvSpPr txBox="1">
            <a:spLocks noGrp="1"/>
          </p:cNvSpPr>
          <p:nvPr>
            <p:ph type="body" idx="5"/>
          </p:nvPr>
        </p:nvSpPr>
        <p:spPr>
          <a:xfrm>
            <a:off x="335822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" name="Google Shape;52;p56"/>
          <p:cNvSpPr txBox="1">
            <a:spLocks noGrp="1"/>
          </p:cNvSpPr>
          <p:nvPr>
            <p:ph type="body" idx="6"/>
          </p:nvPr>
        </p:nvSpPr>
        <p:spPr>
          <a:xfrm>
            <a:off x="490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" name="Google Shape;53;p56"/>
          <p:cNvSpPr txBox="1">
            <a:spLocks noGrp="1"/>
          </p:cNvSpPr>
          <p:nvPr>
            <p:ph type="body" idx="7"/>
          </p:nvPr>
        </p:nvSpPr>
        <p:spPr>
          <a:xfrm>
            <a:off x="335822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" name="Google Shape;54;p56"/>
          <p:cNvSpPr txBox="1">
            <a:spLocks noGrp="1"/>
          </p:cNvSpPr>
          <p:nvPr>
            <p:ph type="body" idx="8"/>
          </p:nvPr>
        </p:nvSpPr>
        <p:spPr>
          <a:xfrm>
            <a:off x="6250847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5" name="Google Shape;55;p56"/>
          <p:cNvSpPr txBox="1">
            <a:spLocks noGrp="1"/>
          </p:cNvSpPr>
          <p:nvPr>
            <p:ph type="body" idx="9"/>
          </p:nvPr>
        </p:nvSpPr>
        <p:spPr>
          <a:xfrm>
            <a:off x="6250847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" name="Google Shape;56;p56"/>
          <p:cNvSpPr>
            <a:spLocks noGrp="1"/>
          </p:cNvSpPr>
          <p:nvPr>
            <p:ph type="pic" idx="13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57" name="Google Shape;57;p56"/>
          <p:cNvSpPr txBox="1">
            <a:spLocks noGrp="1"/>
          </p:cNvSpPr>
          <p:nvPr>
            <p:ph type="body" idx="14"/>
          </p:nvPr>
        </p:nvSpPr>
        <p:spPr>
          <a:xfrm>
            <a:off x="9112746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8" name="Google Shape;58;p56"/>
          <p:cNvSpPr txBox="1">
            <a:spLocks noGrp="1"/>
          </p:cNvSpPr>
          <p:nvPr>
            <p:ph type="body" idx="15"/>
          </p:nvPr>
        </p:nvSpPr>
        <p:spPr>
          <a:xfrm>
            <a:off x="9112746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9" name="Google Shape;59;p5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3x">
  <p:cSld name="Participant 3x">
    <p:spTree>
      <p:nvGrpSpPr>
        <p:cNvPr id="1" name="Shape 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Google Shape;61;p57"/>
          <p:cNvSpPr>
            <a:spLocks noGrp="1"/>
          </p:cNvSpPr>
          <p:nvPr>
            <p:ph type="pic" idx="2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62" name="Google Shape;62;p57"/>
          <p:cNvSpPr txBox="1">
            <a:spLocks noGrp="1"/>
          </p:cNvSpPr>
          <p:nvPr>
            <p:ph type="body" idx="1"/>
          </p:nvPr>
        </p:nvSpPr>
        <p:spPr>
          <a:xfrm>
            <a:off x="490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3" name="Google Shape;63;p57"/>
          <p:cNvSpPr txBox="1">
            <a:spLocks noGrp="1"/>
          </p:cNvSpPr>
          <p:nvPr>
            <p:ph type="body" idx="3"/>
          </p:nvPr>
        </p:nvSpPr>
        <p:spPr>
          <a:xfrm>
            <a:off x="4804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4" name="Google Shape;64;p57"/>
          <p:cNvSpPr txBox="1">
            <a:spLocks noGrp="1"/>
          </p:cNvSpPr>
          <p:nvPr>
            <p:ph type="body" idx="4"/>
          </p:nvPr>
        </p:nvSpPr>
        <p:spPr>
          <a:xfrm>
            <a:off x="490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57"/>
          <p:cNvSpPr txBox="1">
            <a:spLocks noGrp="1"/>
          </p:cNvSpPr>
          <p:nvPr>
            <p:ph type="body" idx="5"/>
          </p:nvPr>
        </p:nvSpPr>
        <p:spPr>
          <a:xfrm>
            <a:off x="4804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6" name="Google Shape;66;p57"/>
          <p:cNvSpPr>
            <a:spLocks noGrp="1"/>
          </p:cNvSpPr>
          <p:nvPr>
            <p:ph type="pic" idx="6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67" name="Google Shape;67;p57"/>
          <p:cNvSpPr>
            <a:spLocks noGrp="1"/>
          </p:cNvSpPr>
          <p:nvPr>
            <p:ph type="pic" idx="7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68" name="Google Shape;68;p57"/>
          <p:cNvSpPr txBox="1">
            <a:spLocks noGrp="1"/>
          </p:cNvSpPr>
          <p:nvPr>
            <p:ph type="body" idx="8"/>
          </p:nvPr>
        </p:nvSpPr>
        <p:spPr>
          <a:xfrm>
            <a:off x="9112746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9" name="Google Shape;69;p57"/>
          <p:cNvSpPr txBox="1">
            <a:spLocks noGrp="1"/>
          </p:cNvSpPr>
          <p:nvPr>
            <p:ph type="body" idx="9"/>
          </p:nvPr>
        </p:nvSpPr>
        <p:spPr>
          <a:xfrm>
            <a:off x="9112746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0" name="Google Shape;70;p5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2x">
  <p:cSld name="Participant 2x">
    <p:spTree>
      <p:nvGrpSpPr>
        <p:cNvPr id="1" name="Shape 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Google Shape;72;p58"/>
          <p:cNvSpPr txBox="1">
            <a:spLocks noGrp="1"/>
          </p:cNvSpPr>
          <p:nvPr>
            <p:ph type="body" idx="1"/>
          </p:nvPr>
        </p:nvSpPr>
        <p:spPr>
          <a:xfrm>
            <a:off x="3261360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3" name="Google Shape;73;p58"/>
          <p:cNvSpPr txBox="1">
            <a:spLocks noGrp="1"/>
          </p:cNvSpPr>
          <p:nvPr>
            <p:ph type="body" idx="2"/>
          </p:nvPr>
        </p:nvSpPr>
        <p:spPr>
          <a:xfrm>
            <a:off x="6322980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4" name="Google Shape;74;p58"/>
          <p:cNvSpPr txBox="1">
            <a:spLocks noGrp="1"/>
          </p:cNvSpPr>
          <p:nvPr>
            <p:ph type="body" idx="3"/>
          </p:nvPr>
        </p:nvSpPr>
        <p:spPr>
          <a:xfrm>
            <a:off x="3261360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5" name="Google Shape;75;p58"/>
          <p:cNvSpPr txBox="1">
            <a:spLocks noGrp="1"/>
          </p:cNvSpPr>
          <p:nvPr>
            <p:ph type="body" idx="4"/>
          </p:nvPr>
        </p:nvSpPr>
        <p:spPr>
          <a:xfrm>
            <a:off x="6322980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6" name="Google Shape;76;p58"/>
          <p:cNvSpPr>
            <a:spLocks noGrp="1"/>
          </p:cNvSpPr>
          <p:nvPr>
            <p:ph type="pic" idx="5"/>
          </p:nvPr>
        </p:nvSpPr>
        <p:spPr>
          <a:xfrm>
            <a:off x="3832825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77" name="Google Shape;77;p58"/>
          <p:cNvSpPr>
            <a:spLocks noGrp="1"/>
          </p:cNvSpPr>
          <p:nvPr>
            <p:ph type="pic" idx="6"/>
          </p:nvPr>
        </p:nvSpPr>
        <p:spPr>
          <a:xfrm>
            <a:off x="6894445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78" name="Google Shape;78;p5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pter title slide">
  <p:cSld name="Chapter title slide">
    <p:spTree>
      <p:nvGrpSpPr>
        <p:cNvPr id="1" name="Shape 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Google Shape;80;p59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" name="Google Shape;81;p59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21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82" name="Google Shape;82;p59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2"/>
                </a:solidFill>
              </a:defRPr>
            </a:lvl1pPr>
            <a:lvl2pPr lvl="1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83" name="Google Shape;83;p59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75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  <a:defRPr sz="48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7409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2 texts with 1/4 image">
  <p:cSld name="Title, subtitle &amp; 2 texts with 1/4 image"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Google Shape;85;p60"/>
          <p:cNvSpPr>
            <a:spLocks noGrp="1"/>
          </p:cNvSpPr>
          <p:nvPr>
            <p:ph type="pic" idx="2"/>
          </p:nvPr>
        </p:nvSpPr>
        <p:spPr>
          <a:xfrm>
            <a:off x="9146400" y="1098000"/>
            <a:ext cx="30456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86" name="Google Shape;86;p60"/>
          <p:cNvSpPr txBox="1">
            <a:spLocks noGrp="1"/>
          </p:cNvSpPr>
          <p:nvPr>
            <p:ph type="body" idx="1"/>
          </p:nvPr>
        </p:nvSpPr>
        <p:spPr>
          <a:xfrm>
            <a:off x="431998" y="2157413"/>
            <a:ext cx="3928356" cy="4270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7" name="Google Shape;87;p60"/>
          <p:cNvSpPr txBox="1">
            <a:spLocks noGrp="1"/>
          </p:cNvSpPr>
          <p:nvPr>
            <p:ph type="body" idx="3"/>
          </p:nvPr>
        </p:nvSpPr>
        <p:spPr>
          <a:xfrm>
            <a:off x="431998" y="1530000"/>
            <a:ext cx="3928356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8" name="Google Shape;88;p60"/>
          <p:cNvSpPr txBox="1">
            <a:spLocks noGrp="1"/>
          </p:cNvSpPr>
          <p:nvPr>
            <p:ph type="body" idx="4"/>
          </p:nvPr>
        </p:nvSpPr>
        <p:spPr>
          <a:xfrm>
            <a:off x="4792355" y="2157413"/>
            <a:ext cx="3924931" cy="4270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" name="Google Shape;89;p60"/>
          <p:cNvSpPr txBox="1">
            <a:spLocks noGrp="1"/>
          </p:cNvSpPr>
          <p:nvPr>
            <p:ph type="body" idx="5"/>
          </p:nvPr>
        </p:nvSpPr>
        <p:spPr>
          <a:xfrm>
            <a:off x="4792355" y="1530000"/>
            <a:ext cx="3924931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0" name="Google Shape;90;p60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orient="horz" pos="1359">
          <p15:clr>
            <a:srgbClr val="FBAE40"/>
          </p15:clr>
        </p15:guide>
        <p15:guide id="6" pos="5490">
          <p15:clr>
            <a:srgbClr val="FBAE40"/>
          </p15:clr>
        </p15:guide>
        <p15:guide id="7" pos="5760">
          <p15:clr>
            <a:srgbClr val="FBAE40"/>
          </p15:clr>
        </p15:guide>
        <p15:guide id="8" pos="3018">
          <p15:clr>
            <a:srgbClr val="FBAE40"/>
          </p15:clr>
        </p15:guide>
        <p15:guide id="9" pos="2747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5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sz="28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51"/>
          <p:cNvSpPr txBox="1">
            <a:spLocks noGrp="1"/>
          </p:cNvSpPr>
          <p:nvPr>
            <p:ph type="body" idx="1"/>
          </p:nvPr>
        </p:nvSpPr>
        <p:spPr>
          <a:xfrm>
            <a:off x="432000" y="1520824"/>
            <a:ext cx="11328000" cy="4905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3429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" name="Google Shape;12;p51"/>
          <p:cNvSpPr txBox="1">
            <a:spLocks noGrp="1"/>
          </p:cNvSpPr>
          <p:nvPr>
            <p:ph type="ftr" idx="11"/>
          </p:nvPr>
        </p:nvSpPr>
        <p:spPr>
          <a:xfrm>
            <a:off x="442912" y="7100600"/>
            <a:ext cx="4114800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" name="Google Shape;13;p51"/>
          <p:cNvSpPr txBox="1">
            <a:spLocks noGrp="1"/>
          </p:cNvSpPr>
          <p:nvPr>
            <p:ph type="sldNum" idx="12"/>
          </p:nvPr>
        </p:nvSpPr>
        <p:spPr>
          <a:xfrm>
            <a:off x="11277600" y="7100600"/>
            <a:ext cx="471488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pic>
        <p:nvPicPr>
          <p:cNvPr id="14" name="Google Shape;14;p51"/>
          <p:cNvPicPr preferRelativeResize="0"/>
          <p:nvPr/>
        </p:nvPicPr>
        <p:blipFill rotWithShape="1">
          <a:blip r:embed="rId38">
            <a:alphaModFix/>
          </a:blip>
          <a:srcRect/>
          <a:stretch/>
        </p:blipFill>
        <p:spPr>
          <a:xfrm>
            <a:off x="11021614" y="352800"/>
            <a:ext cx="738385" cy="324000"/>
          </a:xfrm>
          <a:prstGeom prst="rect">
            <a:avLst/>
          </a:prstGeom>
          <a:noFill/>
          <a:ln>
            <a:noFill/>
          </a:ln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  <p:sldLayoutId id="2147483669" r:id="rId21"/>
    <p:sldLayoutId id="2147483670" r:id="rId22"/>
    <p:sldLayoutId id="2147483671" r:id="rId23"/>
    <p:sldLayoutId id="2147483672" r:id="rId24"/>
    <p:sldLayoutId id="2147483673" r:id="rId25"/>
    <p:sldLayoutId id="2147483674" r:id="rId26"/>
    <p:sldLayoutId id="2147483675" r:id="rId27"/>
    <p:sldLayoutId id="2147483676" r:id="rId28"/>
    <p:sldLayoutId id="2147483677" r:id="rId29"/>
    <p:sldLayoutId id="2147483678" r:id="rId30"/>
    <p:sldLayoutId id="2147483680" r:id="rId31"/>
    <p:sldLayoutId id="2147483681" r:id="rId32"/>
    <p:sldLayoutId id="2147483682" r:id="rId33"/>
    <p:sldLayoutId id="2147483683" r:id="rId34"/>
    <p:sldLayoutId id="2147483684" r:id="rId35"/>
    <p:sldLayoutId id="2147483685" r:id="rId36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15.xml"/><Relationship Id="rId6" Type="http://schemas.openxmlformats.org/officeDocument/2006/relationships/image" Target="../media/image16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5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16.xml"/><Relationship Id="rId6" Type="http://schemas.openxmlformats.org/officeDocument/2006/relationships/image" Target="../media/image16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6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17.xml"/><Relationship Id="rId6" Type="http://schemas.openxmlformats.org/officeDocument/2006/relationships/image" Target="../media/image20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7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30.xml"/><Relationship Id="rId1" Type="http://schemas.openxmlformats.org/officeDocument/2006/relationships/tags" Target="../tags/tag18.xml"/><Relationship Id="rId6" Type="http://schemas.openxmlformats.org/officeDocument/2006/relationships/image" Target="../media/image21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8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30.xml"/><Relationship Id="rId1" Type="http://schemas.openxmlformats.org/officeDocument/2006/relationships/tags" Target="../tags/tag19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9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20.xml"/><Relationship Id="rId6" Type="http://schemas.openxmlformats.org/officeDocument/2006/relationships/image" Target="../media/image22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0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21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1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1.xml"/><Relationship Id="rId6" Type="http://schemas.openxmlformats.org/officeDocument/2006/relationships/image" Target="../media/image8.jp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1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22.xml"/><Relationship Id="rId6" Type="http://schemas.openxmlformats.org/officeDocument/2006/relationships/image" Target="../media/image23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2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23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3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24.xml"/><Relationship Id="rId6" Type="http://schemas.openxmlformats.org/officeDocument/2006/relationships/image" Target="../media/image24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4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25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5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28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.xml"/><Relationship Id="rId2" Type="http://schemas.openxmlformats.org/officeDocument/2006/relationships/slideLayout" Target="../slideLayouts/slideLayout34.xml"/><Relationship Id="rId1" Type="http://schemas.openxmlformats.org/officeDocument/2006/relationships/tags" Target="../tags/tag26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6.bin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.xml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27.xml"/><Relationship Id="rId6" Type="http://schemas.openxmlformats.org/officeDocument/2006/relationships/image" Target="../media/image10.jp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2.bin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3.xml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28.xml"/><Relationship Id="rId6" Type="http://schemas.openxmlformats.org/officeDocument/2006/relationships/image" Target="../media/image35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7.bin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4.xml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29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8.bin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5.xml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30.xml"/><Relationship Id="rId6" Type="http://schemas.openxmlformats.org/officeDocument/2006/relationships/image" Target="../media/image10.jp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2.bin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8.png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12.xml"/><Relationship Id="rId6" Type="http://schemas.openxmlformats.org/officeDocument/2006/relationships/image" Target="../media/image10.jp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2.bin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1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3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3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6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3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17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17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7.xml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31.xml"/><Relationship Id="rId6" Type="http://schemas.openxmlformats.org/officeDocument/2006/relationships/image" Target="../media/image10.jp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2.bin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13.x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13.bin"/><Relationship Id="rId4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14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3BD235C-7F6E-0F3E-E0C1-FAD1A4BF05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9F0E725C-57E0-FA52-1C2C-E5C007BC6A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3ECA7E74-1656-BE83-D558-D6D913991F0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21153" y="261289"/>
            <a:ext cx="4519913" cy="6249470"/>
          </a:xfrm>
          <a:prstGeom prst="rect">
            <a:avLst/>
          </a:prstGeom>
        </p:spPr>
      </p:pic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663A4B9A-5D2B-8D46-578A-5D77244F9E98}"/>
              </a:ext>
            </a:extLst>
          </p:cNvPr>
          <p:cNvSpPr/>
          <p:nvPr/>
        </p:nvSpPr>
        <p:spPr>
          <a:xfrm>
            <a:off x="1990846" y="347241"/>
            <a:ext cx="2228126" cy="347240"/>
          </a:xfrm>
          <a:prstGeom prst="round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84B58871-EF94-DD23-8953-7737BF714467}"/>
              </a:ext>
            </a:extLst>
          </p:cNvPr>
          <p:cNvCxnSpPr>
            <a:cxnSpLocks/>
            <a:endCxn id="10" idx="1"/>
          </p:cNvCxnSpPr>
          <p:nvPr/>
        </p:nvCxnSpPr>
        <p:spPr>
          <a:xfrm>
            <a:off x="4218972" y="497711"/>
            <a:ext cx="3599726" cy="69448"/>
          </a:xfrm>
          <a:prstGeom prst="straightConnector1">
            <a:avLst/>
          </a:prstGeom>
          <a:ln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64321334-653C-233B-294C-E9CB8D288515}"/>
              </a:ext>
            </a:extLst>
          </p:cNvPr>
          <p:cNvSpPr/>
          <p:nvPr/>
        </p:nvSpPr>
        <p:spPr>
          <a:xfrm>
            <a:off x="7818698" y="144683"/>
            <a:ext cx="2135529" cy="844952"/>
          </a:xfrm>
          <a:prstGeom prst="roundRect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User.Email</a:t>
            </a:r>
            <a:endParaRPr lang="en-US" dirty="0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306D1B77-DAD6-BE14-2773-D255D12E5CE1}"/>
              </a:ext>
            </a:extLst>
          </p:cNvPr>
          <p:cNvSpPr/>
          <p:nvPr/>
        </p:nvSpPr>
        <p:spPr>
          <a:xfrm>
            <a:off x="2621665" y="873889"/>
            <a:ext cx="1122745" cy="1001210"/>
          </a:xfrm>
          <a:prstGeom prst="round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735CCBAF-8AF4-33A9-99D8-4FA22D2EFF06}"/>
              </a:ext>
            </a:extLst>
          </p:cNvPr>
          <p:cNvCxnSpPr>
            <a:cxnSpLocks/>
            <a:endCxn id="18" idx="1"/>
          </p:cNvCxnSpPr>
          <p:nvPr/>
        </p:nvCxnSpPr>
        <p:spPr>
          <a:xfrm>
            <a:off x="3744410" y="1394749"/>
            <a:ext cx="4074288" cy="167832"/>
          </a:xfrm>
          <a:prstGeom prst="straightConnector1">
            <a:avLst/>
          </a:prstGeom>
          <a:ln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B1CA3D97-B686-25BC-AD5A-355C0F19C4BD}"/>
              </a:ext>
            </a:extLst>
          </p:cNvPr>
          <p:cNvSpPr/>
          <p:nvPr/>
        </p:nvSpPr>
        <p:spPr>
          <a:xfrm>
            <a:off x="7818698" y="1140105"/>
            <a:ext cx="2135529" cy="844952"/>
          </a:xfrm>
          <a:prstGeom prst="roundRect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User.AvatarURL</a:t>
            </a:r>
            <a:endParaRPr lang="en-US" dirty="0"/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73D73643-DFC6-70C9-E160-1F1D30191975}"/>
              </a:ext>
            </a:extLst>
          </p:cNvPr>
          <p:cNvSpPr/>
          <p:nvPr/>
        </p:nvSpPr>
        <p:spPr>
          <a:xfrm>
            <a:off x="3044142" y="1875099"/>
            <a:ext cx="752354" cy="405114"/>
          </a:xfrm>
          <a:prstGeom prst="round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169790B8-D8ED-3527-1CD9-534270899699}"/>
              </a:ext>
            </a:extLst>
          </p:cNvPr>
          <p:cNvCxnSpPr>
            <a:cxnSpLocks/>
            <a:stCxn id="19" idx="3"/>
            <a:endCxn id="25" idx="1"/>
          </p:cNvCxnSpPr>
          <p:nvPr/>
        </p:nvCxnSpPr>
        <p:spPr>
          <a:xfrm>
            <a:off x="3796496" y="2077656"/>
            <a:ext cx="4022202" cy="480347"/>
          </a:xfrm>
          <a:prstGeom prst="straightConnector1">
            <a:avLst/>
          </a:prstGeom>
          <a:ln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5836ABA7-ECDF-621D-245A-F483AD4DEE7B}"/>
              </a:ext>
            </a:extLst>
          </p:cNvPr>
          <p:cNvSpPr/>
          <p:nvPr/>
        </p:nvSpPr>
        <p:spPr>
          <a:xfrm>
            <a:off x="7818698" y="2135527"/>
            <a:ext cx="2135529" cy="844952"/>
          </a:xfrm>
          <a:prstGeom prst="roundRect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User.Nam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458730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BEC11D-AE1B-5E89-C529-6F1E039439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F725FE64-3EB9-3B40-5CD9-A3E18996AE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9F0E725C-57E0-FA52-1C2C-E5C007BC6A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F7670C37-C011-531B-794D-3E132460FB11}"/>
              </a:ext>
            </a:extLst>
          </p:cNvPr>
          <p:cNvSpPr txBox="1"/>
          <p:nvPr/>
        </p:nvSpPr>
        <p:spPr>
          <a:xfrm>
            <a:off x="5904753" y="2205318"/>
            <a:ext cx="4291106" cy="87854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FF0000"/>
                </a:solidFill>
              </a:rPr>
              <a:t>Get user informatio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F968336-9082-C084-904D-7EF54539A230}"/>
              </a:ext>
            </a:extLst>
          </p:cNvPr>
          <p:cNvSpPr txBox="1"/>
          <p:nvPr/>
        </p:nvSpPr>
        <p:spPr>
          <a:xfrm>
            <a:off x="5989899" y="2887883"/>
            <a:ext cx="4519914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mail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Email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highlight>
                  <a:srgbClr val="FFFFFF"/>
                </a:highlight>
                <a:latin typeface="Cascadia Mono" panose="020B0609020000020004" pitchFamily="49" charset="0"/>
              </a:rPr>
              <a:t>u.AvatarURL</a:t>
            </a:r>
            <a:r>
              <a:rPr lang="en-US" sz="1800" dirty="0">
                <a:highlight>
                  <a:srgbClr val="FFFFFF"/>
                </a:highlight>
                <a:latin typeface="Cascadia Mono" panose="020B0609020000020004" pitchFamily="49" charset="0"/>
              </a:rPr>
              <a:t> as Avatar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sz="1800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8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AB549ED-F678-2A75-0020-0D1CC53BD42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54916" y="245618"/>
            <a:ext cx="4519913" cy="62494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23862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7">
          <a:extLst>
            <a:ext uri="{FF2B5EF4-FFF2-40B4-BE49-F238E27FC236}">
              <a16:creationId xmlns:a16="http://schemas.microsoft.com/office/drawing/2014/main" id="{FE779233-0E2B-F275-0C1B-76CD4DE8D39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8" name="Google Shape;238;g344eaf56fbf_3_36">
            <a:extLst>
              <a:ext uri="{FF2B5EF4-FFF2-40B4-BE49-F238E27FC236}">
                <a16:creationId xmlns:a16="http://schemas.microsoft.com/office/drawing/2014/main" id="{8D8FB9EE-DFD3-A45D-9C12-81BFE5FBD1C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Table For Setting Featu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392FB74-62A0-258C-A0FC-9E98A1B1880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0189" y="859899"/>
            <a:ext cx="10314926" cy="57913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088598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7">
          <a:extLst>
            <a:ext uri="{FF2B5EF4-FFF2-40B4-BE49-F238E27FC236}">
              <a16:creationId xmlns:a16="http://schemas.microsoft.com/office/drawing/2014/main" id="{A65292A6-B20A-3346-40D6-3A53728A04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8" name="Google Shape;238;g344eaf56fbf_3_36">
            <a:extLst>
              <a:ext uri="{FF2B5EF4-FFF2-40B4-BE49-F238E27FC236}">
                <a16:creationId xmlns:a16="http://schemas.microsoft.com/office/drawing/2014/main" id="{B0A630C1-5575-C0F9-8D60-AA7E1D60BB6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Table For Setting Feature</a:t>
            </a:r>
            <a:endParaRPr/>
          </a:p>
        </p:txBody>
      </p:sp>
      <p:pic>
        <p:nvPicPr>
          <p:cNvPr id="239" name="Google Shape;239;g344eaf56fbf_3_36">
            <a:extLst>
              <a:ext uri="{FF2B5EF4-FFF2-40B4-BE49-F238E27FC236}">
                <a16:creationId xmlns:a16="http://schemas.microsoft.com/office/drawing/2014/main" id="{3F5F7D27-FB1E-8C48-E435-1536F99E0A03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52399" y="1250400"/>
            <a:ext cx="11887201" cy="341873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1866761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" name="Google Shape;245;g344eaf56fbf_3_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Setting Sample Data</a:t>
            </a:r>
            <a:endParaRPr/>
          </a:p>
        </p:txBody>
      </p:sp>
      <p:pic>
        <p:nvPicPr>
          <p:cNvPr id="246" name="Google Shape;246;g344eaf56fbf_3_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636607" y="821803"/>
            <a:ext cx="9281765" cy="597832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235180-E55E-CDAA-ADBA-ACEF497402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DAD0D753-004B-7256-B36A-8C4738724E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60BB0548-A6D3-7AC2-5258-F1ACB07B258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656" y="47812"/>
            <a:ext cx="5667769" cy="68580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67CD148-19EF-A34E-A182-8A167B0DD93A}"/>
              </a:ext>
            </a:extLst>
          </p:cNvPr>
          <p:cNvSpPr txBox="1"/>
          <p:nvPr/>
        </p:nvSpPr>
        <p:spPr>
          <a:xfrm>
            <a:off x="6251389" y="1255059"/>
            <a:ext cx="2306918" cy="508000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000" dirty="0"/>
              <a:t>Get user setting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35074FA-91E2-A929-B105-92B9A62DA299}"/>
              </a:ext>
            </a:extLst>
          </p:cNvPr>
          <p:cNvSpPr txBox="1"/>
          <p:nvPr/>
        </p:nvSpPr>
        <p:spPr>
          <a:xfrm>
            <a:off x="3268199" y="2602753"/>
            <a:ext cx="2306918" cy="508000"/>
          </a:xfrm>
          <a:prstGeom prst="rect">
            <a:avLst/>
          </a:prstGeom>
          <a:noFill/>
          <a:ln w="28575">
            <a:solidFill>
              <a:schemeClr val="bg2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 sz="2000" dirty="0" err="1">
                <a:solidFill>
                  <a:schemeClr val="bg1"/>
                </a:solidFill>
              </a:rPr>
              <a:t>SettingKey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665FA01-E8A7-88A0-ACD1-C892B9134BAE}"/>
              </a:ext>
            </a:extLst>
          </p:cNvPr>
          <p:cNvSpPr txBox="1"/>
          <p:nvPr/>
        </p:nvSpPr>
        <p:spPr>
          <a:xfrm>
            <a:off x="3038105" y="4075953"/>
            <a:ext cx="2306918" cy="508000"/>
          </a:xfrm>
          <a:prstGeom prst="rect">
            <a:avLst/>
          </a:prstGeom>
          <a:noFill/>
          <a:ln w="28575">
            <a:solidFill>
              <a:schemeClr val="bg2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000" dirty="0" err="1">
                <a:solidFill>
                  <a:schemeClr val="bg1"/>
                </a:solidFill>
              </a:rPr>
              <a:t>SettingValue</a:t>
            </a:r>
            <a:endParaRPr lang="en-US" sz="2000" dirty="0">
              <a:solidFill>
                <a:schemeClr val="bg1"/>
              </a:solidFill>
            </a:endParaRP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C1CA3E3A-0509-357D-81CE-CD215B73A732}"/>
              </a:ext>
            </a:extLst>
          </p:cNvPr>
          <p:cNvCxnSpPr>
            <a:cxnSpLocks/>
            <a:stCxn id="4" idx="1"/>
          </p:cNvCxnSpPr>
          <p:nvPr/>
        </p:nvCxnSpPr>
        <p:spPr>
          <a:xfrm flipH="1" flipV="1">
            <a:off x="2037976" y="2602753"/>
            <a:ext cx="1230223" cy="254000"/>
          </a:xfrm>
          <a:prstGeom prst="straightConnector1">
            <a:avLst/>
          </a:prstGeom>
          <a:ln w="1905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471A2C53-DC12-7525-D3B7-AAC51A87C1A7}"/>
              </a:ext>
            </a:extLst>
          </p:cNvPr>
          <p:cNvSpPr/>
          <p:nvPr/>
        </p:nvSpPr>
        <p:spPr>
          <a:xfrm>
            <a:off x="484094" y="2336800"/>
            <a:ext cx="1553882" cy="573742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1DBD514-6332-1F1D-6980-0D68163479E7}"/>
              </a:ext>
            </a:extLst>
          </p:cNvPr>
          <p:cNvSpPr/>
          <p:nvPr/>
        </p:nvSpPr>
        <p:spPr>
          <a:xfrm>
            <a:off x="484094" y="2982259"/>
            <a:ext cx="1673412" cy="878541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106EC768-F22F-1241-1B71-445D51359136}"/>
              </a:ext>
            </a:extLst>
          </p:cNvPr>
          <p:cNvCxnSpPr>
            <a:cxnSpLocks/>
            <a:stCxn id="5" idx="1"/>
            <a:endCxn id="10" idx="3"/>
          </p:cNvCxnSpPr>
          <p:nvPr/>
        </p:nvCxnSpPr>
        <p:spPr>
          <a:xfrm flipH="1" flipV="1">
            <a:off x="2157506" y="3421530"/>
            <a:ext cx="880599" cy="908423"/>
          </a:xfrm>
          <a:prstGeom prst="straightConnector1">
            <a:avLst/>
          </a:prstGeom>
          <a:ln w="1905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700C9F84-FD1A-957D-4881-6187304A7AED}"/>
              </a:ext>
            </a:extLst>
          </p:cNvPr>
          <p:cNvSpPr txBox="1"/>
          <p:nvPr/>
        </p:nvSpPr>
        <p:spPr>
          <a:xfrm>
            <a:off x="6229648" y="2232620"/>
            <a:ext cx="3972393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ttingKey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ttingValu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ttingUs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etting s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tting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1</a:t>
            </a:r>
            <a:endParaRPr lang="en-GB" sz="1800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904534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0E560C6-1F07-0046-EF01-57151EB80B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67415CFE-1A8F-BE3F-715A-CF72E013C4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6FE08A5B-1AA9-4358-E4D0-10B8507CD5B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2493" y="719282"/>
            <a:ext cx="10967013" cy="599664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DDCD1C3-D40A-79B9-AC71-1AC5CA0AAB83}"/>
              </a:ext>
            </a:extLst>
          </p:cNvPr>
          <p:cNvSpPr txBox="1"/>
          <p:nvPr/>
        </p:nvSpPr>
        <p:spPr>
          <a:xfrm>
            <a:off x="4589156" y="2313750"/>
            <a:ext cx="2677459" cy="448235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Get starred objects</a:t>
            </a:r>
          </a:p>
        </p:txBody>
      </p:sp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86B63637-6C83-F171-D838-ED9382B5D061}"/>
              </a:ext>
            </a:extLst>
          </p:cNvPr>
          <p:cNvCxnSpPr>
            <a:cxnSpLocks/>
            <a:stCxn id="5" idx="1"/>
          </p:cNvCxnSpPr>
          <p:nvPr/>
        </p:nvCxnSpPr>
        <p:spPr>
          <a:xfrm flipH="1">
            <a:off x="2702689" y="2537868"/>
            <a:ext cx="1886467" cy="500486"/>
          </a:xfrm>
          <a:prstGeom prst="straightConnector1">
            <a:avLst/>
          </a:prstGeom>
          <a:ln w="2857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2551003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565591-ED09-3AC0-F745-6ADE77CF74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23BC4BEC-E48B-C474-8FF1-AC2EA80586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67415CFE-1A8F-BE3F-715A-CF72E013C4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E0D953E3-50F3-1000-92D3-5BFB1B5EC7D8}"/>
              </a:ext>
            </a:extLst>
          </p:cNvPr>
          <p:cNvSpPr txBox="1"/>
          <p:nvPr/>
        </p:nvSpPr>
        <p:spPr>
          <a:xfrm>
            <a:off x="1005370" y="960841"/>
            <a:ext cx="2677459" cy="448235"/>
          </a:xfrm>
          <a:prstGeom prst="rect">
            <a:avLst/>
          </a:prstGeom>
          <a:noFill/>
          <a:ln w="28575">
            <a:solidFill>
              <a:schemeClr val="bg2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Get starred object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E14A415-C1DD-6048-EF7D-D36BF98A7F2D}"/>
              </a:ext>
            </a:extLst>
          </p:cNvPr>
          <p:cNvSpPr txBox="1"/>
          <p:nvPr/>
        </p:nvSpPr>
        <p:spPr>
          <a:xfrm>
            <a:off x="1154241" y="1828800"/>
            <a:ext cx="10238283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avoriteObj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Files fi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2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sz="1800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98124028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704B0FC-78CE-A3EE-A3D5-7E047C9824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DFC3D673-5D0E-7BED-1DD4-1558FB15682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DDA53CF9-A850-6124-F174-BA811AF051F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97712" y="768043"/>
            <a:ext cx="11476299" cy="546602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012CF7CE-BAD8-D475-B907-85AE2D2DCFC7}"/>
              </a:ext>
            </a:extLst>
          </p:cNvPr>
          <p:cNvSpPr txBox="1"/>
          <p:nvPr/>
        </p:nvSpPr>
        <p:spPr>
          <a:xfrm>
            <a:off x="4436782" y="2490905"/>
            <a:ext cx="3318436" cy="400423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bg1"/>
                </a:solidFill>
              </a:rPr>
              <a:t>Get recent objects of an user</a:t>
            </a:r>
          </a:p>
        </p:txBody>
      </p: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D25CA0F1-6322-80FC-1D6C-B37C7E3E4917}"/>
              </a:ext>
            </a:extLst>
          </p:cNvPr>
          <p:cNvCxnSpPr>
            <a:stCxn id="6" idx="1"/>
          </p:cNvCxnSpPr>
          <p:nvPr/>
        </p:nvCxnSpPr>
        <p:spPr>
          <a:xfrm flipH="1">
            <a:off x="2725797" y="2691117"/>
            <a:ext cx="1710985" cy="1412014"/>
          </a:xfrm>
          <a:prstGeom prst="straightConnector1">
            <a:avLst/>
          </a:prstGeom>
          <a:ln w="2857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7125567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EB5359-F9AB-410C-374B-72E6C3A2A7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AC9C3737-D70E-5C3F-BF19-454BD285CF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DFC3D673-5D0E-7BED-1DD4-1558FB1568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095A373A-629B-7567-4238-3055D8FFA0B5}"/>
              </a:ext>
            </a:extLst>
          </p:cNvPr>
          <p:cNvSpPr txBox="1"/>
          <p:nvPr/>
        </p:nvSpPr>
        <p:spPr>
          <a:xfrm>
            <a:off x="1096388" y="883637"/>
            <a:ext cx="3318436" cy="400423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Get recent objects of an user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D1C8447-DC78-ED91-26B5-889CB4BE0DB5}"/>
              </a:ext>
            </a:extLst>
          </p:cNvPr>
          <p:cNvSpPr txBox="1"/>
          <p:nvPr/>
        </p:nvSpPr>
        <p:spPr>
          <a:xfrm>
            <a:off x="854438" y="1409076"/>
            <a:ext cx="9121515" cy="53553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th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th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ateTi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astAccesse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Recent r</a:t>
            </a: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r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i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2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t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ateTi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sz="1800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441565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BBE1C08-AA88-72BB-AF71-C57753F3F3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BBE1C08-AA88-72BB-AF71-C57753F3F3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3B458723-F8F0-9DEE-EB70-04F588D700D0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/>
          <a:srcRect t="26389" b="26389"/>
          <a:stretch/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A02ED5A7-572B-82DF-E867-D87AF7CFD77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bbv Software Services AG  |  </a:t>
            </a:r>
            <a:r>
              <a:rPr lang="en-CH" noProof="0" dirty="0"/>
              <a:t>Date</a:t>
            </a:r>
            <a:endParaRPr lang="en-GB" noProof="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9A50645-4898-AAC6-F648-5D00E1663EE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noProof="0" dirty="0">
                <a:solidFill>
                  <a:srgbClr val="FF0000"/>
                </a:solidFill>
              </a:rPr>
              <a:t>Google Drive Database Design</a:t>
            </a:r>
          </a:p>
        </p:txBody>
      </p:sp>
    </p:spTree>
    <p:extLst>
      <p:ext uri="{BB962C8B-B14F-4D97-AF65-F5344CB8AC3E}">
        <p14:creationId xmlns:p14="http://schemas.microsoft.com/office/powerpoint/2010/main" val="3185713280"/>
      </p:ext>
    </p:extLst>
  </p:cSld>
  <p:clrMapOvr>
    <a:masterClrMapping/>
  </p:clrMapOvr>
  <p:transition spd="slow">
    <p:push dir="u"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980786-C4F7-561B-A27D-951B334321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4AEBF9C5-4C16-5DA2-1A35-18CD5038494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2EEB3C6F-C0C2-B974-22DF-EAC8238B78A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22476" y="775046"/>
            <a:ext cx="11100122" cy="5938337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4F8AE854-CA1C-81F9-A45D-8F96FEB4D4CD}"/>
              </a:ext>
            </a:extLst>
          </p:cNvPr>
          <p:cNvSpPr txBox="1"/>
          <p:nvPr/>
        </p:nvSpPr>
        <p:spPr>
          <a:xfrm>
            <a:off x="4815187" y="3168041"/>
            <a:ext cx="3383430" cy="412376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bg1"/>
                </a:solidFill>
              </a:rPr>
              <a:t>Get trash objects of an user</a:t>
            </a:r>
          </a:p>
        </p:txBody>
      </p:sp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7890EE7C-2C36-E50D-1D34-8AD37943F163}"/>
              </a:ext>
            </a:extLst>
          </p:cNvPr>
          <p:cNvCxnSpPr>
            <a:stCxn id="5" idx="1"/>
          </p:cNvCxnSpPr>
          <p:nvPr/>
        </p:nvCxnSpPr>
        <p:spPr>
          <a:xfrm flipH="1">
            <a:off x="2524515" y="3374229"/>
            <a:ext cx="2290672" cy="1167222"/>
          </a:xfrm>
          <a:prstGeom prst="straightConnector1">
            <a:avLst/>
          </a:prstGeom>
          <a:ln w="2857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1445513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AC36AEA-A1A4-BA7F-07C4-FA0ED08B48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E4CD312F-0719-07E6-12F6-D27DC87916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4AEBF9C5-4C16-5DA2-1A35-18CD503849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3B51B329-7A07-A54A-F750-2AE5E660B259}"/>
              </a:ext>
            </a:extLst>
          </p:cNvPr>
          <p:cNvSpPr txBox="1"/>
          <p:nvPr/>
        </p:nvSpPr>
        <p:spPr>
          <a:xfrm>
            <a:off x="529328" y="597796"/>
            <a:ext cx="3383430" cy="412376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Get trash objects of an user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5EBC993-D10E-F154-89F6-F6E38545C3A3}"/>
              </a:ext>
            </a:extLst>
          </p:cNvPr>
          <p:cNvSpPr txBox="1"/>
          <p:nvPr/>
        </p:nvSpPr>
        <p:spPr>
          <a:xfrm>
            <a:off x="529328" y="1424066"/>
            <a:ext cx="8964118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emoved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rash t</a:t>
            </a: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ot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i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2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emovedDateTi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sz="1800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380309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CE1BC5-FD8A-7198-3645-7596F459A0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5CB2AF49-55FE-0D5C-FA89-105EF794FD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9B8C40BC-0E84-C917-28C1-249240BE0ED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15" y="0"/>
            <a:ext cx="11037391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50289DA7-6EFE-24F7-3385-3F4CBDD67EC3}"/>
              </a:ext>
            </a:extLst>
          </p:cNvPr>
          <p:cNvSpPr/>
          <p:nvPr/>
        </p:nvSpPr>
        <p:spPr>
          <a:xfrm>
            <a:off x="161366" y="1380565"/>
            <a:ext cx="2576048" cy="535045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401888CB-E4BC-1A15-2C90-737A280767D4}"/>
              </a:ext>
            </a:extLst>
          </p:cNvPr>
          <p:cNvCxnSpPr>
            <a:cxnSpLocks/>
            <a:stCxn id="6" idx="3"/>
            <a:endCxn id="9" idx="1"/>
          </p:cNvCxnSpPr>
          <p:nvPr/>
        </p:nvCxnSpPr>
        <p:spPr>
          <a:xfrm flipV="1">
            <a:off x="2737414" y="1515906"/>
            <a:ext cx="1300902" cy="132182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A9870113-CA4D-D6D7-B15B-FD4AB247891D}"/>
              </a:ext>
            </a:extLst>
          </p:cNvPr>
          <p:cNvSpPr txBox="1"/>
          <p:nvPr/>
        </p:nvSpPr>
        <p:spPr>
          <a:xfrm>
            <a:off x="4038316" y="1306729"/>
            <a:ext cx="1655482" cy="418353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Get storag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F6E5A26-AE99-C7B2-9236-8B118F4A4588}"/>
              </a:ext>
            </a:extLst>
          </p:cNvPr>
          <p:cNvSpPr/>
          <p:nvPr/>
        </p:nvSpPr>
        <p:spPr>
          <a:xfrm>
            <a:off x="161365" y="3287059"/>
            <a:ext cx="10703859" cy="302409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24F3FA57-EBFF-9BFF-BABD-4A57EF81489E}"/>
              </a:ext>
            </a:extLst>
          </p:cNvPr>
          <p:cNvCxnSpPr>
            <a:cxnSpLocks/>
            <a:stCxn id="10" idx="0"/>
            <a:endCxn id="14" idx="1"/>
          </p:cNvCxnSpPr>
          <p:nvPr/>
        </p:nvCxnSpPr>
        <p:spPr>
          <a:xfrm flipV="1">
            <a:off x="5513295" y="2410807"/>
            <a:ext cx="744751" cy="876252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34E4578F-1435-226E-C8B6-F5677ABCF214}"/>
              </a:ext>
            </a:extLst>
          </p:cNvPr>
          <p:cNvSpPr txBox="1"/>
          <p:nvPr/>
        </p:nvSpPr>
        <p:spPr>
          <a:xfrm>
            <a:off x="6258046" y="2222548"/>
            <a:ext cx="2324847" cy="376518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Get list file by size</a:t>
            </a:r>
          </a:p>
        </p:txBody>
      </p:sp>
    </p:spTree>
    <p:extLst>
      <p:ext uri="{BB962C8B-B14F-4D97-AF65-F5344CB8AC3E}">
        <p14:creationId xmlns:p14="http://schemas.microsoft.com/office/powerpoint/2010/main" val="38825922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08E650E-9D5B-CBA3-40C0-2C83DC4008E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74C7F111-2715-6993-0108-10850FD2663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5CB2AF49-55FE-0D5C-FA89-105EF794FD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3EDD39C0-0C6D-7D57-9FB8-388F40AF829B}"/>
              </a:ext>
            </a:extLst>
          </p:cNvPr>
          <p:cNvSpPr txBox="1"/>
          <p:nvPr/>
        </p:nvSpPr>
        <p:spPr>
          <a:xfrm>
            <a:off x="1185251" y="700030"/>
            <a:ext cx="1655482" cy="418353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Get storag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E6971DD-8074-F455-2E88-8BE3026C1C38}"/>
              </a:ext>
            </a:extLst>
          </p:cNvPr>
          <p:cNvSpPr txBox="1"/>
          <p:nvPr/>
        </p:nvSpPr>
        <p:spPr>
          <a:xfrm>
            <a:off x="7449719" y="741865"/>
            <a:ext cx="2324847" cy="376518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Get list file by siz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AF2988D-C6BF-FAD3-6BD8-381D80653513}"/>
              </a:ext>
            </a:extLst>
          </p:cNvPr>
          <p:cNvSpPr txBox="1"/>
          <p:nvPr/>
        </p:nvSpPr>
        <p:spPr>
          <a:xfrm>
            <a:off x="757003" y="1776334"/>
            <a:ext cx="4377128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pacity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dCapacity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pacit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dCapacit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emainingCapacity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emainingCapacit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99DD975-61DC-D28E-C192-99549962518A}"/>
              </a:ext>
            </a:extLst>
          </p:cNvPr>
          <p:cNvSpPr txBox="1"/>
          <p:nvPr/>
        </p:nvSpPr>
        <p:spPr>
          <a:xfrm>
            <a:off x="7312702" y="1941226"/>
            <a:ext cx="412229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iz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iz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sz="1800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151036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2">
          <a:extLst>
            <a:ext uri="{FF2B5EF4-FFF2-40B4-BE49-F238E27FC236}">
              <a16:creationId xmlns:a16="http://schemas.microsoft.com/office/drawing/2014/main" id="{D7CF98D5-B465-B3AF-6F46-CBC23D1DC7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3" name="Google Shape;273;g344eaf56fbf_0_59">
            <a:extLst>
              <a:ext uri="{FF2B5EF4-FFF2-40B4-BE49-F238E27FC236}">
                <a16:creationId xmlns:a16="http://schemas.microsoft.com/office/drawing/2014/main" id="{CC423ADF-DBBB-5D78-AE87-D7D655DB148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Product UI</a:t>
            </a:r>
            <a:endParaRPr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39CCF8D-761F-449B-B871-16B694C9E10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20724" y="749411"/>
            <a:ext cx="7462071" cy="5801860"/>
          </a:xfrm>
          <a:prstGeom prst="rect">
            <a:avLst/>
          </a:prstGeom>
        </p:spPr>
      </p:pic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70E14B9D-05E2-6202-6021-88689AE1EB01}"/>
              </a:ext>
            </a:extLst>
          </p:cNvPr>
          <p:cNvSpPr/>
          <p:nvPr/>
        </p:nvSpPr>
        <p:spPr>
          <a:xfrm>
            <a:off x="2919457" y="3096228"/>
            <a:ext cx="3176543" cy="2297576"/>
          </a:xfrm>
          <a:prstGeom prst="round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4BFB5126-8CDB-E964-7FFD-FECA11D92DA0}"/>
              </a:ext>
            </a:extLst>
          </p:cNvPr>
          <p:cNvCxnSpPr>
            <a:cxnSpLocks/>
            <a:stCxn id="6" idx="1"/>
            <a:endCxn id="10" idx="2"/>
          </p:cNvCxnSpPr>
          <p:nvPr/>
        </p:nvCxnSpPr>
        <p:spPr>
          <a:xfrm flipH="1" flipV="1">
            <a:off x="1177725" y="2696901"/>
            <a:ext cx="1741732" cy="1548115"/>
          </a:xfrm>
          <a:prstGeom prst="straightConnector1">
            <a:avLst/>
          </a:prstGeom>
          <a:ln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91F12B27-B303-2C3E-9C85-E12694304EF6}"/>
              </a:ext>
            </a:extLst>
          </p:cNvPr>
          <p:cNvSpPr/>
          <p:nvPr/>
        </p:nvSpPr>
        <p:spPr>
          <a:xfrm>
            <a:off x="347241" y="1847411"/>
            <a:ext cx="1660967" cy="849490"/>
          </a:xfrm>
          <a:prstGeom prst="roundRect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roduct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AC4A2526-D5AF-F565-3F31-6E85D32F90D4}"/>
              </a:ext>
            </a:extLst>
          </p:cNvPr>
          <p:cNvSpPr/>
          <p:nvPr/>
        </p:nvSpPr>
        <p:spPr>
          <a:xfrm>
            <a:off x="6302415" y="3235124"/>
            <a:ext cx="925975" cy="341454"/>
          </a:xfrm>
          <a:prstGeom prst="round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860DF5D8-40C3-C54B-C742-948564F1B965}"/>
              </a:ext>
            </a:extLst>
          </p:cNvPr>
          <p:cNvSpPr/>
          <p:nvPr/>
        </p:nvSpPr>
        <p:spPr>
          <a:xfrm>
            <a:off x="10148361" y="2130991"/>
            <a:ext cx="1660967" cy="849490"/>
          </a:xfrm>
          <a:prstGeom prst="roundRect">
            <a:avLst/>
          </a:prstGeom>
          <a:solidFill>
            <a:schemeClr val="tx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Product.Duration</a:t>
            </a:r>
            <a:endParaRPr lang="en-US" dirty="0"/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C0562C34-00F3-0072-48E1-234BC931EA3B}"/>
              </a:ext>
            </a:extLst>
          </p:cNvPr>
          <p:cNvCxnSpPr>
            <a:cxnSpLocks/>
            <a:stCxn id="13" idx="0"/>
            <a:endCxn id="14" idx="1"/>
          </p:cNvCxnSpPr>
          <p:nvPr/>
        </p:nvCxnSpPr>
        <p:spPr>
          <a:xfrm flipV="1">
            <a:off x="6765403" y="2555736"/>
            <a:ext cx="3382958" cy="679388"/>
          </a:xfrm>
          <a:prstGeom prst="straightConnector1">
            <a:avLst/>
          </a:prstGeom>
          <a:ln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674DEFAB-E696-68E8-CA83-2ECD8E33974F}"/>
              </a:ext>
            </a:extLst>
          </p:cNvPr>
          <p:cNvSpPr/>
          <p:nvPr/>
        </p:nvSpPr>
        <p:spPr>
          <a:xfrm>
            <a:off x="7728152" y="4123480"/>
            <a:ext cx="634557" cy="341454"/>
          </a:xfrm>
          <a:prstGeom prst="round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662282BB-261D-A6A2-E3C6-09A84CD24039}"/>
              </a:ext>
            </a:extLst>
          </p:cNvPr>
          <p:cNvSpPr/>
          <p:nvPr/>
        </p:nvSpPr>
        <p:spPr>
          <a:xfrm>
            <a:off x="9956415" y="5607934"/>
            <a:ext cx="1660967" cy="849490"/>
          </a:xfrm>
          <a:prstGeom prst="roundRect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romotion</a:t>
            </a: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7A3CE474-F334-669B-93FA-F2E29D7218FB}"/>
              </a:ext>
            </a:extLst>
          </p:cNvPr>
          <p:cNvCxnSpPr>
            <a:cxnSpLocks/>
            <a:stCxn id="18" idx="3"/>
            <a:endCxn id="19" idx="1"/>
          </p:cNvCxnSpPr>
          <p:nvPr/>
        </p:nvCxnSpPr>
        <p:spPr>
          <a:xfrm>
            <a:off x="8362709" y="4294207"/>
            <a:ext cx="1593706" cy="1738472"/>
          </a:xfrm>
          <a:prstGeom prst="straightConnector1">
            <a:avLst/>
          </a:prstGeom>
          <a:ln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5EBD8DE6-88BD-402B-B0D2-C618B3366B56}"/>
              </a:ext>
            </a:extLst>
          </p:cNvPr>
          <p:cNvSpPr/>
          <p:nvPr/>
        </p:nvSpPr>
        <p:spPr>
          <a:xfrm>
            <a:off x="6302415" y="3894881"/>
            <a:ext cx="1252117" cy="341454"/>
          </a:xfrm>
          <a:prstGeom prst="round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0A7ED158-968C-3800-94B9-1B58CC9E2B08}"/>
              </a:ext>
            </a:extLst>
          </p:cNvPr>
          <p:cNvSpPr/>
          <p:nvPr/>
        </p:nvSpPr>
        <p:spPr>
          <a:xfrm>
            <a:off x="10148361" y="3386845"/>
            <a:ext cx="1660967" cy="849490"/>
          </a:xfrm>
          <a:prstGeom prst="roundRect">
            <a:avLst/>
          </a:prstGeom>
          <a:solidFill>
            <a:schemeClr val="tx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Product.Amount</a:t>
            </a:r>
            <a:endParaRPr lang="en-US" dirty="0"/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E4529DDA-594C-8744-665C-D427F9633F21}"/>
              </a:ext>
            </a:extLst>
          </p:cNvPr>
          <p:cNvCxnSpPr>
            <a:cxnSpLocks/>
            <a:stCxn id="24" idx="3"/>
            <a:endCxn id="25" idx="1"/>
          </p:cNvCxnSpPr>
          <p:nvPr/>
        </p:nvCxnSpPr>
        <p:spPr>
          <a:xfrm flipV="1">
            <a:off x="7554532" y="3811590"/>
            <a:ext cx="2593829" cy="254018"/>
          </a:xfrm>
          <a:prstGeom prst="straightConnector1">
            <a:avLst/>
          </a:prstGeom>
          <a:ln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1987452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9" name="Google Shape;289;g36f56cd1dea_1_4"/>
          <p:cNvSpPr txBox="1">
            <a:spLocks noGrp="1"/>
          </p:cNvSpPr>
          <p:nvPr>
            <p:ph type="title" idx="4294967295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Table for Product Feature</a:t>
            </a:r>
            <a:endParaRPr/>
          </a:p>
        </p:txBody>
      </p:sp>
      <p:pic>
        <p:nvPicPr>
          <p:cNvPr id="290" name="Google Shape;290;g36f56cd1dea_1_4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52400" y="1250400"/>
            <a:ext cx="11887199" cy="463630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6" name="Google Shape;296;g36f76ef2d7d_0_1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94375" y="848150"/>
            <a:ext cx="11077575" cy="2867025"/>
          </a:xfrm>
          <a:prstGeom prst="rect">
            <a:avLst/>
          </a:prstGeom>
          <a:noFill/>
          <a:ln>
            <a:noFill/>
          </a:ln>
        </p:spPr>
      </p:pic>
      <p:pic>
        <p:nvPicPr>
          <p:cNvPr id="297" name="Google Shape;297;g36f76ef2d7d_0_15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365375" y="3867575"/>
            <a:ext cx="11006575" cy="25888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610CB5-568E-A900-7149-A899230E39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27B18B6E-64A8-FF13-9568-002CC3C27E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3D41FD66-AF6C-67C6-B5E8-6BA35902437A}"/>
              </a:ext>
            </a:extLst>
          </p:cNvPr>
          <p:cNvSpPr txBox="1"/>
          <p:nvPr/>
        </p:nvSpPr>
        <p:spPr>
          <a:xfrm>
            <a:off x="678182" y="377742"/>
            <a:ext cx="2324847" cy="596619"/>
          </a:xfrm>
          <a:prstGeom prst="rect">
            <a:avLst/>
          </a:prstGeom>
          <a:noFill/>
          <a:ln w="28575">
            <a:solidFill>
              <a:schemeClr val="bg2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/>
              <a:t>Get products can be bought by an use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C698703-79D7-E5C0-EDD2-48DF762D9843}"/>
              </a:ext>
            </a:extLst>
          </p:cNvPr>
          <p:cNvSpPr txBox="1"/>
          <p:nvPr/>
        </p:nvSpPr>
        <p:spPr>
          <a:xfrm>
            <a:off x="742013" y="1663908"/>
            <a:ext cx="10035915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roduct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ying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romotion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Produ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p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roducts p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rodu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p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romotion pr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romotion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99</a:t>
            </a:r>
            <a:endParaRPr lang="en-GB" sz="1800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696942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9B0D693-42D5-3C0F-5ED4-40522D2C12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9B0D693-42D5-3C0F-5ED4-40522D2C12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EF648B22-9BC3-A38D-EECF-81EDB4845C6F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59" b="42247"/>
          <a:stretch/>
        </p:blipFill>
        <p:spPr>
          <a:xfrm>
            <a:off x="0" y="1098000"/>
            <a:ext cx="12192000" cy="2160000"/>
          </a:xfr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E1F6CD6B-1F52-35AC-8E87-6337B4A1077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CCE0C7-F39C-A9B7-EFD4-CECED4307FF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pPr marL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</a:pPr>
            <a:r>
              <a:rPr lang="en-US" dirty="0">
                <a:solidFill>
                  <a:srgbClr val="FF0000"/>
                </a:solidFill>
              </a:rPr>
              <a:t>Resolve permission problem in Google Drive</a:t>
            </a:r>
            <a:endParaRPr lang="en-GB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3638795"/>
      </p:ext>
    </p:extLst>
  </p:cSld>
  <p:clrMapOvr>
    <a:masterClrMapping/>
  </p:clrMapOvr>
  <p:transition spd="slow">
    <p:push dir="u"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1">
          <a:extLst>
            <a:ext uri="{FF2B5EF4-FFF2-40B4-BE49-F238E27FC236}">
              <a16:creationId xmlns:a16="http://schemas.microsoft.com/office/drawing/2014/main" id="{F1994B0B-DD69-ED2A-797B-F21A43279A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screenshot of a computer&#10;&#10;Description automatically generated">
            <a:extLst>
              <a:ext uri="{FF2B5EF4-FFF2-40B4-BE49-F238E27FC236}">
                <a16:creationId xmlns:a16="http://schemas.microsoft.com/office/drawing/2014/main" id="{3E540764-4C0D-1AD0-0DDA-353AB5B9F1E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40800" y="825996"/>
            <a:ext cx="4910399" cy="57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252" name="Google Shape;252;g344eaf56fbf_0_44">
            <a:extLst>
              <a:ext uri="{FF2B5EF4-FFF2-40B4-BE49-F238E27FC236}">
                <a16:creationId xmlns:a16="http://schemas.microsoft.com/office/drawing/2014/main" id="{5D6309CE-1944-BF60-27DE-34A00755F0D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Share</a:t>
            </a:r>
            <a:endParaRPr lang="en-US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55BD292F-B4F7-0529-220D-20F059FD8AD8}"/>
              </a:ext>
            </a:extLst>
          </p:cNvPr>
          <p:cNvSpPr/>
          <p:nvPr/>
        </p:nvSpPr>
        <p:spPr>
          <a:xfrm>
            <a:off x="3790709" y="2494344"/>
            <a:ext cx="2801073" cy="532436"/>
          </a:xfrm>
          <a:prstGeom prst="round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C4F6C526-233D-407B-C839-73EAAF11EA63}"/>
              </a:ext>
            </a:extLst>
          </p:cNvPr>
          <p:cNvSpPr/>
          <p:nvPr/>
        </p:nvSpPr>
        <p:spPr>
          <a:xfrm>
            <a:off x="431999" y="1828800"/>
            <a:ext cx="1923449" cy="711843"/>
          </a:xfrm>
          <a:prstGeom prst="roundRect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SharedUser</a:t>
            </a:r>
            <a:endParaRPr lang="en-US" dirty="0"/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0C64BEC5-B328-1C7F-4F0F-424CEE706100}"/>
              </a:ext>
            </a:extLst>
          </p:cNvPr>
          <p:cNvCxnSpPr>
            <a:cxnSpLocks/>
            <a:stCxn id="6" idx="1"/>
            <a:endCxn id="7" idx="3"/>
          </p:cNvCxnSpPr>
          <p:nvPr/>
        </p:nvCxnSpPr>
        <p:spPr>
          <a:xfrm flipH="1" flipV="1">
            <a:off x="2355448" y="2184722"/>
            <a:ext cx="1435261" cy="575840"/>
          </a:xfrm>
          <a:prstGeom prst="straightConnector1">
            <a:avLst/>
          </a:prstGeom>
          <a:ln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8F0EE231-9DFD-6AC7-48DD-0550DAA20FED}"/>
              </a:ext>
            </a:extLst>
          </p:cNvPr>
          <p:cNvSpPr/>
          <p:nvPr/>
        </p:nvSpPr>
        <p:spPr>
          <a:xfrm>
            <a:off x="4446607" y="880974"/>
            <a:ext cx="3192684" cy="532436"/>
          </a:xfrm>
          <a:prstGeom prst="round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258817FA-17A7-83A1-9A3A-4E70004D96CD}"/>
              </a:ext>
            </a:extLst>
          </p:cNvPr>
          <p:cNvSpPr/>
          <p:nvPr/>
        </p:nvSpPr>
        <p:spPr>
          <a:xfrm>
            <a:off x="9647376" y="1147192"/>
            <a:ext cx="1923449" cy="711843"/>
          </a:xfrm>
          <a:prstGeom prst="roundRect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hare</a:t>
            </a: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2E237FF9-2CCD-02F6-AE50-1B9BAA0BC530}"/>
              </a:ext>
            </a:extLst>
          </p:cNvPr>
          <p:cNvCxnSpPr>
            <a:cxnSpLocks/>
            <a:stCxn id="12" idx="1"/>
            <a:endCxn id="11" idx="3"/>
          </p:cNvCxnSpPr>
          <p:nvPr/>
        </p:nvCxnSpPr>
        <p:spPr>
          <a:xfrm flipH="1" flipV="1">
            <a:off x="7639291" y="1147192"/>
            <a:ext cx="2008085" cy="355922"/>
          </a:xfrm>
          <a:prstGeom prst="straightConnector1">
            <a:avLst/>
          </a:prstGeom>
          <a:ln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D1246509-86CE-7169-D8DA-B9CE7D8EF92D}"/>
              </a:ext>
            </a:extLst>
          </p:cNvPr>
          <p:cNvSpPr/>
          <p:nvPr/>
        </p:nvSpPr>
        <p:spPr>
          <a:xfrm>
            <a:off x="6487609" y="3524492"/>
            <a:ext cx="1794077" cy="1423686"/>
          </a:xfrm>
          <a:prstGeom prst="round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103643EE-2522-90A7-F749-D39BA412C787}"/>
              </a:ext>
            </a:extLst>
          </p:cNvPr>
          <p:cNvSpPr/>
          <p:nvPr/>
        </p:nvSpPr>
        <p:spPr>
          <a:xfrm>
            <a:off x="9707178" y="3996493"/>
            <a:ext cx="1923449" cy="711843"/>
          </a:xfrm>
          <a:prstGeom prst="roundRect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ermission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9C0CD67C-B230-E1EF-9038-0C65C80B5369}"/>
              </a:ext>
            </a:extLst>
          </p:cNvPr>
          <p:cNvCxnSpPr>
            <a:cxnSpLocks/>
            <a:stCxn id="17" idx="1"/>
            <a:endCxn id="16" idx="3"/>
          </p:cNvCxnSpPr>
          <p:nvPr/>
        </p:nvCxnSpPr>
        <p:spPr>
          <a:xfrm flipH="1" flipV="1">
            <a:off x="8281686" y="4236335"/>
            <a:ext cx="1425492" cy="116080"/>
          </a:xfrm>
          <a:prstGeom prst="straightConnector1">
            <a:avLst/>
          </a:prstGeom>
          <a:ln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4922648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" name="Google Shape;205;g36f56cd1dea_2_17"/>
          <p:cNvSpPr txBox="1">
            <a:spLocks noGrp="1"/>
          </p:cNvSpPr>
          <p:nvPr>
            <p:ph type="body" idx="1"/>
          </p:nvPr>
        </p:nvSpPr>
        <p:spPr>
          <a:xfrm>
            <a:off x="432000" y="1530000"/>
            <a:ext cx="5232000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625475" lvl="0" indent="-67627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140"/>
              <a:buFont typeface="Arial"/>
              <a:buAutoNum type="arabicPeriod"/>
            </a:pPr>
            <a:r>
              <a:rPr lang="en-GB" sz="2600" dirty="0"/>
              <a:t>Google Drive functions and database design as followed</a:t>
            </a:r>
            <a:endParaRPr sz="2600" dirty="0"/>
          </a:p>
          <a:p>
            <a:pPr marL="625475" lvl="0" indent="-67627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140"/>
              <a:buFont typeface="Arial"/>
              <a:buAutoNum type="arabicPeriod"/>
            </a:pPr>
            <a:r>
              <a:rPr lang="en-GB" sz="2600" dirty="0"/>
              <a:t>Resolve Permission in Google Drive</a:t>
            </a:r>
            <a:endParaRPr sz="2600" dirty="0"/>
          </a:p>
          <a:p>
            <a:pPr marL="625475" lvl="0" indent="-676275" algn="l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ts val="3140"/>
              <a:buFont typeface="Arial"/>
              <a:buAutoNum type="arabicPeriod"/>
            </a:pPr>
            <a:r>
              <a:rPr lang="en-GB" sz="2600" dirty="0"/>
              <a:t>Full-text Search with BM25</a:t>
            </a:r>
            <a:endParaRPr sz="2600" dirty="0"/>
          </a:p>
          <a:p>
            <a:pPr marL="625475" lvl="0" indent="-641985" algn="l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ts val="2600"/>
              <a:buAutoNum type="arabicPeriod"/>
            </a:pPr>
            <a:r>
              <a:rPr lang="en-GB" sz="2600" dirty="0"/>
              <a:t>Q&amp;A</a:t>
            </a:r>
            <a:endParaRPr sz="2600" dirty="0"/>
          </a:p>
        </p:txBody>
      </p:sp>
      <p:sp>
        <p:nvSpPr>
          <p:cNvPr id="206" name="Google Shape;206;g36f56cd1dea_2_1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GB"/>
              <a:t>Agenda</a:t>
            </a:r>
            <a:endParaRPr/>
          </a:p>
        </p:txBody>
      </p:sp>
      <p:pic>
        <p:nvPicPr>
          <p:cNvPr id="4" name="Picture Placeholder 5">
            <a:extLst>
              <a:ext uri="{FF2B5EF4-FFF2-40B4-BE49-F238E27FC236}">
                <a16:creationId xmlns:a16="http://schemas.microsoft.com/office/drawing/2014/main" id="{DE904735-A40A-530F-8CF6-1439942306AF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225" r="15853"/>
          <a:stretch/>
        </p:blipFill>
        <p:spPr>
          <a:xfrm>
            <a:off x="6096000" y="1098000"/>
            <a:ext cx="6096000" cy="5760000"/>
          </a:xfrm>
          <a:prstGeom prst="rect">
            <a:avLst/>
          </a:prstGeom>
        </p:spPr>
      </p:pic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9" name="Google Shape;259;g344eaf56fbf_2_0"/>
          <p:cNvSpPr txBox="1">
            <a:spLocks noGrp="1"/>
          </p:cNvSpPr>
          <p:nvPr>
            <p:ph type="title" idx="4294967295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dirty="0"/>
              <a:t>Table for Share feature</a:t>
            </a:r>
            <a:endParaRPr dirty="0"/>
          </a:p>
        </p:txBody>
      </p:sp>
      <p:pic>
        <p:nvPicPr>
          <p:cNvPr id="260" name="Google Shape;260;g344eaf56fbf_2_0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52400" y="1250400"/>
            <a:ext cx="11887201" cy="443448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4435959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white and yellow file with black text&#10;&#10;Description automatically generated">
            <a:extLst>
              <a:ext uri="{FF2B5EF4-FFF2-40B4-BE49-F238E27FC236}">
                <a16:creationId xmlns:a16="http://schemas.microsoft.com/office/drawing/2014/main" id="{BA9A377A-07F9-E31C-2AD5-7D7378E2B8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60707" y="1098000"/>
            <a:ext cx="8470585" cy="21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316" name="Subtitle 2">
            <a:extLst>
              <a:ext uri="{FF2B5EF4-FFF2-40B4-BE49-F238E27FC236}">
                <a16:creationId xmlns:a16="http://schemas.microsoft.com/office/drawing/2014/main" id="{B1CC62EF-32E8-6BE3-244E-7267339886F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</p:spPr>
        <p:txBody>
          <a:bodyPr/>
          <a:lstStyle/>
          <a:p>
            <a:r>
              <a:rPr lang="en-US" dirty="0"/>
              <a:t>Track folder position in family tree</a:t>
            </a:r>
          </a:p>
        </p:txBody>
      </p:sp>
      <p:sp>
        <p:nvSpPr>
          <p:cNvPr id="309" name="Google Shape;309;g36f56cd1dea_1_13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75" cy="1477328"/>
          </a:xfrm>
        </p:spPr>
        <p:txBody>
          <a:bodyPr spcFirstLastPara="1" wrap="square" lIns="0" tIns="0" rIns="0" bIns="0" anchor="b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Add column “Path” to table folder</a:t>
            </a:r>
          </a:p>
        </p:txBody>
      </p: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E3CA0385-69E7-0241-8BF9-78509C48485C}"/>
              </a:ext>
            </a:extLst>
          </p:cNvPr>
          <p:cNvSpPr txBox="1"/>
          <p:nvPr/>
        </p:nvSpPr>
        <p:spPr>
          <a:xfrm>
            <a:off x="481559" y="411991"/>
            <a:ext cx="664439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2800" b="1" dirty="0">
                <a:solidFill>
                  <a:schemeClr val="bg2"/>
                </a:solidFill>
              </a:rPr>
              <a:t>Sample data for share feature</a:t>
            </a:r>
            <a:endParaRPr lang="en-US" sz="2800" b="1" dirty="0">
              <a:solidFill>
                <a:schemeClr val="bg2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79DF911-4ABF-2BFC-BF9E-24E6CAE40A6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281" y="3553532"/>
            <a:ext cx="8913610" cy="200321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3C272BD5-8F6C-619C-2A71-0DCB88CBB36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56474" y="3663096"/>
            <a:ext cx="2664714" cy="166788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5CF3EC9B-EBF6-C2DC-3762-00166F17223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1031216"/>
            <a:ext cx="12192000" cy="1323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249346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23D665-7ABA-C506-EADF-63209657AA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645B9ADD-0B04-1A50-1E8C-C37DCA432F9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645B9ADD-0B04-1A50-1E8C-C37DCA432F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B5ECBE74-E71A-86B3-3C3B-816FF189E7D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148446"/>
            <a:ext cx="12192000" cy="6561107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87A5ACE-E271-3AF3-1816-E9828F834DC5}"/>
              </a:ext>
            </a:extLst>
          </p:cNvPr>
          <p:cNvSpPr txBox="1"/>
          <p:nvPr/>
        </p:nvSpPr>
        <p:spPr>
          <a:xfrm>
            <a:off x="4196603" y="2094263"/>
            <a:ext cx="3798793" cy="472141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bg1"/>
                </a:solidFill>
              </a:rPr>
              <a:t>Get shared objects with an user</a:t>
            </a:r>
          </a:p>
        </p:txBody>
      </p:sp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BE896A5B-E957-D947-73AD-393D0B1B8995}"/>
              </a:ext>
            </a:extLst>
          </p:cNvPr>
          <p:cNvCxnSpPr>
            <a:stCxn id="5" idx="1"/>
          </p:cNvCxnSpPr>
          <p:nvPr/>
        </p:nvCxnSpPr>
        <p:spPr>
          <a:xfrm flipH="1">
            <a:off x="2083633" y="2330334"/>
            <a:ext cx="2112970" cy="892551"/>
          </a:xfrm>
          <a:prstGeom prst="straightConnector1">
            <a:avLst/>
          </a:prstGeom>
          <a:ln w="2857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6880739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5701D08-C4AE-5F93-72F0-BC2650C481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011132E3-94A8-B541-3696-7A7D21F30E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011132E3-94A8-B541-3696-7A7D21F30E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0F73B47F-FCAF-D10E-1396-F83D56255DE0}"/>
              </a:ext>
            </a:extLst>
          </p:cNvPr>
          <p:cNvSpPr txBox="1"/>
          <p:nvPr/>
        </p:nvSpPr>
        <p:spPr>
          <a:xfrm>
            <a:off x="441565" y="259780"/>
            <a:ext cx="9976597" cy="64633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ermission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u2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reated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Create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xpires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Expires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dUs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hare s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2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2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ermission p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ermission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i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2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xpires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&gt;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FF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GETDAT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()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reated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sz="1800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E252DE9-3784-8C3C-50DC-E7D403017F72}"/>
              </a:ext>
            </a:extLst>
          </p:cNvPr>
          <p:cNvSpPr txBox="1"/>
          <p:nvPr/>
        </p:nvSpPr>
        <p:spPr>
          <a:xfrm>
            <a:off x="6486671" y="2806295"/>
            <a:ext cx="3798793" cy="472141"/>
          </a:xfrm>
          <a:prstGeom prst="rect">
            <a:avLst/>
          </a:prstGeom>
          <a:noFill/>
          <a:ln w="28575">
            <a:solidFill>
              <a:schemeClr val="bg2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Get shared objects with an user</a:t>
            </a:r>
          </a:p>
        </p:txBody>
      </p:sp>
    </p:spTree>
    <p:extLst>
      <p:ext uri="{BB962C8B-B14F-4D97-AF65-F5344CB8AC3E}">
        <p14:creationId xmlns:p14="http://schemas.microsoft.com/office/powerpoint/2010/main" val="287445918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9B0D693-42D5-3C0F-5ED4-40522D2C12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9B0D693-42D5-3C0F-5ED4-40522D2C12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EF648B22-9BC3-A38D-EECF-81EDB4845C6F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59" b="42247"/>
          <a:stretch/>
        </p:blipFill>
        <p:spPr>
          <a:xfrm>
            <a:off x="0" y="1098000"/>
            <a:ext cx="12192000" cy="2160000"/>
          </a:xfr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E1F6CD6B-1F52-35AC-8E87-6337B4A1077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CCE0C7-F39C-A9B7-EFD4-CECED4307FF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pPr lvl="0" algn="l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ts val="3140"/>
            </a:pPr>
            <a:r>
              <a:rPr lang="en-GB" sz="4800" dirty="0">
                <a:solidFill>
                  <a:srgbClr val="FF0000"/>
                </a:solidFill>
              </a:rPr>
              <a:t>Full-text Search with BM25</a:t>
            </a:r>
          </a:p>
        </p:txBody>
      </p:sp>
    </p:spTree>
    <p:extLst>
      <p:ext uri="{BB962C8B-B14F-4D97-AF65-F5344CB8AC3E}">
        <p14:creationId xmlns:p14="http://schemas.microsoft.com/office/powerpoint/2010/main" val="4276421325"/>
      </p:ext>
    </p:extLst>
  </p:cSld>
  <p:clrMapOvr>
    <a:masterClrMapping/>
  </p:clrMapOvr>
  <p:transition spd="slow">
    <p:push dir="u"/>
  </p:transition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3" name="Google Shape;323;p2"/>
          <p:cNvPicPr preferRelativeResize="0">
            <a:picLocks noGrp="1"/>
          </p:cNvPicPr>
          <p:nvPr>
            <p:ph type="pic" idx="2"/>
          </p:nvPr>
        </p:nvPicPr>
        <p:blipFill rotWithShape="1">
          <a:blip r:embed="rId3">
            <a:alphaModFix/>
          </a:blip>
          <a:srcRect t="4660" b="4660"/>
          <a:stretch/>
        </p:blipFill>
        <p:spPr>
          <a:xfrm>
            <a:off x="1101175" y="1375675"/>
            <a:ext cx="9602475" cy="17012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pic>
      <p:sp>
        <p:nvSpPr>
          <p:cNvPr id="324" name="Google Shape;324;p2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r>
              <a:rPr lang="en-GB"/>
              <a:t>How to score in BM25 ?</a:t>
            </a:r>
            <a:endParaRPr/>
          </a:p>
        </p:txBody>
      </p:sp>
      <p:sp>
        <p:nvSpPr>
          <p:cNvPr id="325" name="Google Shape;325;p2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00" cy="14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</a:pPr>
            <a:r>
              <a:rPr lang="en-GB"/>
              <a:t>WHAT IS BM25 ?</a:t>
            </a:r>
            <a:endParaRPr/>
          </a:p>
        </p:txBody>
      </p:sp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0" name="Google Shape;330;p3"/>
          <p:cNvSpPr txBox="1">
            <a:spLocks noGrp="1"/>
          </p:cNvSpPr>
          <p:nvPr>
            <p:ph type="subTitle" idx="1"/>
          </p:nvPr>
        </p:nvSpPr>
        <p:spPr>
          <a:xfrm>
            <a:off x="140945" y="4480023"/>
            <a:ext cx="11331300" cy="369300"/>
          </a:xfrm>
          <a:prstGeom prst="rect">
            <a:avLst/>
          </a:prstGeom>
          <a:blipFill rotWithShape="1">
            <a:blip r:embed="rId3">
              <a:alphaModFix/>
            </a:blip>
            <a:stretch>
              <a:fillRect l="-1609" t="-24998" b="-351623"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r>
              <a:rPr lang="en-GB"/>
              <a:t> </a:t>
            </a:r>
            <a:endParaRPr/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>
                <a:solidFill>
                  <a:srgbClr val="CC071E"/>
                </a:solidFill>
              </a:rPr>
              <a:t>n(qi) is the number of documents containing qi a.k.a df</a:t>
            </a:r>
            <a:endParaRPr>
              <a:solidFill>
                <a:srgbClr val="CC071E"/>
              </a:solidFill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>
                <a:solidFill>
                  <a:srgbClr val="CC071E"/>
                </a:solidFill>
              </a:rPr>
              <a:t>|D| : Length of document</a:t>
            </a:r>
            <a:endParaRPr>
              <a:solidFill>
                <a:srgbClr val="CC071E"/>
              </a:solidFill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>
                <a:solidFill>
                  <a:srgbClr val="CC071E"/>
                </a:solidFill>
              </a:rPr>
              <a:t>avgdl : Average document length in the collection</a:t>
            </a:r>
            <a:endParaRPr>
              <a:solidFill>
                <a:srgbClr val="CC071E"/>
              </a:solidFill>
            </a:endParaRP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endParaRPr/>
          </a:p>
        </p:txBody>
      </p:sp>
      <p:pic>
        <p:nvPicPr>
          <p:cNvPr id="331" name="Google Shape;331;p3"/>
          <p:cNvPicPr preferRelativeResize="0">
            <a:picLocks noGrp="1"/>
          </p:cNvPicPr>
          <p:nvPr>
            <p:ph type="pic" idx="2"/>
          </p:nvPr>
        </p:nvPicPr>
        <p:blipFill rotWithShape="1">
          <a:blip r:embed="rId4">
            <a:alphaModFix/>
          </a:blip>
          <a:srcRect t="-547" b="-913"/>
          <a:stretch/>
        </p:blipFill>
        <p:spPr>
          <a:xfrm>
            <a:off x="1762375" y="1389700"/>
            <a:ext cx="8863651" cy="2266125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pic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6" name="Google Shape;336;p4"/>
          <p:cNvSpPr txBox="1">
            <a:spLocks noGrp="1"/>
          </p:cNvSpPr>
          <p:nvPr>
            <p:ph type="subTitle" idx="1"/>
          </p:nvPr>
        </p:nvSpPr>
        <p:spPr>
          <a:xfrm>
            <a:off x="223655" y="3854005"/>
            <a:ext cx="113313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r>
              <a:rPr lang="en-GB" b="1"/>
              <a:t>k_1</a:t>
            </a:r>
            <a:r>
              <a:rPr lang="en-GB"/>
              <a:t>: A parameter (typically 1.2 to 2.0) controlling the impact of term frequency. Higher values allow more influence from frequent terms.</a:t>
            </a:r>
            <a:endParaRPr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r>
              <a:rPr lang="en-GB" b="1"/>
              <a:t>b</a:t>
            </a:r>
            <a:r>
              <a:rPr lang="en-GB"/>
              <a:t>: A parameter (typically 0.75) controlling the effect of document length normalization. b=0 disables length normalization, while fully normalizes by document length.</a:t>
            </a:r>
            <a:endParaRPr/>
          </a:p>
        </p:txBody>
      </p:sp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1" name="Google Shape;341;p5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00" cy="14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</a:pPr>
            <a:r>
              <a:rPr lang="en-GB" dirty="0"/>
              <a:t>HOW DOES IT WORKS ? </a:t>
            </a:r>
            <a:endParaRPr dirty="0"/>
          </a:p>
        </p:txBody>
      </p:sp>
      <p:pic>
        <p:nvPicPr>
          <p:cNvPr id="342" name="Google Shape;342;p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3308050" y="859400"/>
            <a:ext cx="5480550" cy="31912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9B0D693-42D5-3C0F-5ED4-40522D2C12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9B0D693-42D5-3C0F-5ED4-40522D2C12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EF648B22-9BC3-A38D-EECF-81EDB4845C6F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59" b="42247"/>
          <a:stretch/>
        </p:blipFill>
        <p:spPr>
          <a:xfrm>
            <a:off x="0" y="1098000"/>
            <a:ext cx="12192000" cy="2160000"/>
          </a:xfr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E1F6CD6B-1F52-35AC-8E87-6337B4A1077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CCE0C7-F39C-A9B7-EFD4-CECED4307FF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sz="4800" dirty="0">
                <a:solidFill>
                  <a:srgbClr val="FF0000"/>
                </a:solidFill>
              </a:rPr>
              <a:t>Google Drive functions and database design as followed</a:t>
            </a:r>
            <a:endParaRPr lang="en-GB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2589950"/>
      </p:ext>
    </p:extLst>
  </p:cSld>
  <p:clrMapOvr>
    <a:masterClrMapping/>
  </p:clrMapOvr>
  <p:transition spd="slow">
    <p:push dir="u"/>
  </p:transition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" name="Google Shape;348;p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dirty="0"/>
              <a:t>Tokenization</a:t>
            </a:r>
            <a:endParaRPr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851A98F-74C3-D762-4FB7-970AF03F0B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289721"/>
            <a:ext cx="12192000" cy="133858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993BA02-D6FF-44C0-8797-4B059223927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8440" y="3567750"/>
            <a:ext cx="10945753" cy="2000529"/>
          </a:xfrm>
          <a:prstGeom prst="rect">
            <a:avLst/>
          </a:prstGeom>
        </p:spPr>
      </p:pic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6" name="Google Shape;356;g36f56cd1dea_0_4"/>
          <p:cNvSpPr txBox="1">
            <a:spLocks noGrp="1"/>
          </p:cNvSpPr>
          <p:nvPr>
            <p:ph type="body" idx="1"/>
          </p:nvPr>
        </p:nvSpPr>
        <p:spPr>
          <a:xfrm>
            <a:off x="432000" y="1530000"/>
            <a:ext cx="5232000" cy="4896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r>
              <a:rPr lang="en-GB"/>
              <a:t>N=3</a:t>
            </a:r>
            <a:endParaRPr/>
          </a:p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endParaRPr/>
          </a:p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r>
              <a:rPr lang="en-GB"/>
              <a:t>n(qi)=df(documentfrequency)</a:t>
            </a:r>
            <a:endParaRPr/>
          </a:p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57" name="Google Shape;357;g36f56cd1dea_0_4"/>
          <p:cNvSpPr txBox="1">
            <a:spLocks noGrp="1"/>
          </p:cNvSpPr>
          <p:nvPr>
            <p:ph type="title"/>
          </p:nvPr>
        </p:nvSpPr>
        <p:spPr>
          <a:xfrm>
            <a:off x="548449" y="232925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r>
              <a:rPr lang="en-GB" sz="2700"/>
              <a:t>Caculate IDF ( InverseIndexFrequency)</a:t>
            </a:r>
            <a:endParaRPr sz="27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359" name="Google Shape;359;g36f56cd1dea_0_4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32000" y="3661928"/>
            <a:ext cx="4572000" cy="923925"/>
          </a:xfrm>
          <a:prstGeom prst="rect">
            <a:avLst/>
          </a:prstGeom>
          <a:noFill/>
          <a:ln>
            <a:noFill/>
          </a:ln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769DF12A-0C7C-02A8-BCD6-AB4D9F18EAE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21988" y="1284336"/>
            <a:ext cx="5921563" cy="3731396"/>
          </a:xfrm>
          <a:prstGeom prst="rect">
            <a:avLst/>
          </a:prstGeom>
        </p:spPr>
      </p:pic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screenshot of a table&#10;&#10;Description automatically generated">
            <a:extLst>
              <a:ext uri="{FF2B5EF4-FFF2-40B4-BE49-F238E27FC236}">
                <a16:creationId xmlns:a16="http://schemas.microsoft.com/office/drawing/2014/main" id="{3949A275-C817-97DE-52B3-C262834FBA5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71640" y="1325880"/>
            <a:ext cx="6096000" cy="4206239"/>
          </a:xfrm>
          <a:prstGeom prst="rect">
            <a:avLst/>
          </a:prstGeom>
          <a:noFill/>
          <a:ln>
            <a:noFill/>
          </a:ln>
        </p:spPr>
      </p:pic>
      <p:sp>
        <p:nvSpPr>
          <p:cNvPr id="365" name="Google Shape;365;g36f56cd1dea_0_11"/>
          <p:cNvSpPr txBox="1">
            <a:spLocks noGrp="1"/>
          </p:cNvSpPr>
          <p:nvPr>
            <p:ph type="body" idx="1"/>
          </p:nvPr>
        </p:nvSpPr>
        <p:spPr>
          <a:xfrm>
            <a:off x="432000" y="1530000"/>
            <a:ext cx="5232000" cy="4896000"/>
          </a:xfrm>
        </p:spPr>
        <p:txBody>
          <a:bodyPr spcFirstLastPara="1" wrap="square" lIns="0" tIns="0" rIns="0" bIns="0" anchor="t" anchorCtr="0">
            <a:normAutofit/>
          </a:bodyPr>
          <a:lstStyle/>
          <a:p>
            <a:pPr marL="0" lvl="0" indent="0" rtl="0">
              <a:spcBef>
                <a:spcPts val="1500"/>
              </a:spcBef>
              <a:spcAft>
                <a:spcPts val="0"/>
              </a:spcAft>
              <a:buNone/>
            </a:pPr>
            <a:r>
              <a:rPr lang="en-GB"/>
              <a:t>Tf = ApperanceCount / |D|</a:t>
            </a:r>
            <a:endParaRPr lang="en-US"/>
          </a:p>
        </p:txBody>
      </p:sp>
      <p:sp>
        <p:nvSpPr>
          <p:cNvPr id="366" name="Google Shape;366;g36f56cd1dea_0_1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TF (TermFrequency)</a:t>
            </a:r>
            <a:endParaRPr lang="en-US"/>
          </a:p>
        </p:txBody>
      </p:sp>
    </p:spTree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3" name="Google Shape;373;g36f56cd1dea_0_18"/>
          <p:cNvSpPr txBox="1">
            <a:spLocks noGrp="1"/>
          </p:cNvSpPr>
          <p:nvPr>
            <p:ph type="body" idx="1"/>
          </p:nvPr>
        </p:nvSpPr>
        <p:spPr>
          <a:xfrm>
            <a:off x="432000" y="1167700"/>
            <a:ext cx="5232000" cy="4896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r>
              <a:rPr lang="en-GB"/>
              <a:t>k1=1.2</a:t>
            </a:r>
            <a:endParaRPr/>
          </a:p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r>
              <a:rPr lang="en-GB"/>
              <a:t>b=0.75</a:t>
            </a:r>
            <a:endParaRPr/>
          </a:p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r>
              <a:rPr lang="en-GB"/>
              <a:t>avgdl=5.67</a:t>
            </a:r>
            <a:endParaRPr/>
          </a:p>
        </p:txBody>
      </p:sp>
      <p:sp>
        <p:nvSpPr>
          <p:cNvPr id="374" name="Google Shape;374;g36f56cd1dea_0_1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Total Score</a:t>
            </a:r>
            <a:endParaRPr/>
          </a:p>
        </p:txBody>
      </p:sp>
      <p:pic>
        <p:nvPicPr>
          <p:cNvPr id="376" name="Google Shape;376;g36f56cd1dea_0_1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3122323" y="1872338"/>
            <a:ext cx="8324076" cy="1346125"/>
          </a:xfrm>
          <a:prstGeom prst="rect">
            <a:avLst/>
          </a:prstGeom>
          <a:noFill/>
          <a:ln>
            <a:noFill/>
          </a:ln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150707C-0099-6C00-6385-0C7BFE2B182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086" y="4067080"/>
            <a:ext cx="12087828" cy="977756"/>
          </a:xfrm>
          <a:prstGeom prst="rect">
            <a:avLst/>
          </a:prstGeom>
        </p:spPr>
      </p:pic>
    </p:spTree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2" name="Google Shape;382;g36f56cd1dea_2_0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SQL Implement Full Text Search BM25</a:t>
            </a:r>
            <a:endParaRPr/>
          </a:p>
        </p:txBody>
      </p:sp>
      <p:pic>
        <p:nvPicPr>
          <p:cNvPr id="383" name="Google Shape;383;g36f56cd1dea_2_0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50825" y="1098550"/>
            <a:ext cx="11887203" cy="538933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1">
          <a:extLst>
            <a:ext uri="{FF2B5EF4-FFF2-40B4-BE49-F238E27FC236}">
              <a16:creationId xmlns:a16="http://schemas.microsoft.com/office/drawing/2014/main" id="{3CE8DB58-4689-D514-DFC7-61EF670131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screenshot of a computer&#10;&#10;Description automatically generated">
            <a:extLst>
              <a:ext uri="{FF2B5EF4-FFF2-40B4-BE49-F238E27FC236}">
                <a16:creationId xmlns:a16="http://schemas.microsoft.com/office/drawing/2014/main" id="{34102E69-A0D8-95F1-B75A-20A6FB0C0F9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8986" y="1098000"/>
            <a:ext cx="9974027" cy="57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382" name="Google Shape;382;g36f56cd1dea_2_0">
            <a:extLst>
              <a:ext uri="{FF2B5EF4-FFF2-40B4-BE49-F238E27FC236}">
                <a16:creationId xmlns:a16="http://schemas.microsoft.com/office/drawing/2014/main" id="{E2F2D270-5FE6-071B-6A9B-F1637A45784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SQL Implement Full Text Search BM25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5C889EF-BFCC-B503-F822-E14D4BB29A90}"/>
              </a:ext>
            </a:extLst>
          </p:cNvPr>
          <p:cNvSpPr txBox="1"/>
          <p:nvPr/>
        </p:nvSpPr>
        <p:spPr>
          <a:xfrm>
            <a:off x="6153462" y="2608289"/>
            <a:ext cx="3013023" cy="923330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chemeClr val="bg1"/>
                </a:solidFill>
              </a:rPr>
              <a:t>Get 5 most relevant files/folder related to keyword ‘report’</a:t>
            </a:r>
          </a:p>
        </p:txBody>
      </p:sp>
    </p:spTree>
    <p:extLst>
      <p:ext uri="{BB962C8B-B14F-4D97-AF65-F5344CB8AC3E}">
        <p14:creationId xmlns:p14="http://schemas.microsoft.com/office/powerpoint/2010/main" val="1336093704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1">
          <a:extLst>
            <a:ext uri="{FF2B5EF4-FFF2-40B4-BE49-F238E27FC236}">
              <a16:creationId xmlns:a16="http://schemas.microsoft.com/office/drawing/2014/main" id="{6FF1C766-C1CD-006B-DCFF-E3BA2A9305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2" name="Google Shape;382;g36f56cd1dea_2_0">
            <a:extLst>
              <a:ext uri="{FF2B5EF4-FFF2-40B4-BE49-F238E27FC236}">
                <a16:creationId xmlns:a16="http://schemas.microsoft.com/office/drawing/2014/main" id="{C19FA53F-0143-8F3A-DB98-00037169DA5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SQL Implement Full Text Search BM25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7412E31-645A-6A26-2B11-E7F232629AA0}"/>
              </a:ext>
            </a:extLst>
          </p:cNvPr>
          <p:cNvSpPr txBox="1"/>
          <p:nvPr/>
        </p:nvSpPr>
        <p:spPr>
          <a:xfrm>
            <a:off x="307299" y="891915"/>
            <a:ext cx="3013023" cy="923330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chemeClr val="tx1"/>
                </a:solidFill>
              </a:rPr>
              <a:t>Get 5 most relevant files/folder related to keyword ‘report’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EB7B6EB-2B69-598D-F648-6AFEF6AF15CA}"/>
              </a:ext>
            </a:extLst>
          </p:cNvPr>
          <p:cNvSpPr txBox="1"/>
          <p:nvPr/>
        </p:nvSpPr>
        <p:spPr>
          <a:xfrm>
            <a:off x="524656" y="2420911"/>
            <a:ext cx="10163331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/>
              <a:t>SELECT</a:t>
            </a:r>
          </a:p>
          <a:p>
            <a:r>
              <a:rPr lang="en-US" sz="1800" dirty="0"/>
              <a:t>	</a:t>
            </a:r>
            <a:r>
              <a:rPr lang="en-US" sz="1800" dirty="0" err="1"/>
              <a:t>s.ObjectTypeId</a:t>
            </a:r>
            <a:r>
              <a:rPr lang="en-US" sz="1800" dirty="0"/>
              <a:t>, </a:t>
            </a:r>
          </a:p>
          <a:p>
            <a:r>
              <a:rPr lang="en-US" sz="1800" dirty="0"/>
              <a:t>	</a:t>
            </a:r>
            <a:r>
              <a:rPr lang="en-US" sz="1800" dirty="0" err="1"/>
              <a:t>s.ObjectId</a:t>
            </a:r>
            <a:r>
              <a:rPr lang="en-US" sz="1800" dirty="0"/>
              <a:t>,  </a:t>
            </a:r>
          </a:p>
          <a:p>
            <a:r>
              <a:rPr lang="en-US" sz="1800" dirty="0"/>
              <a:t>	</a:t>
            </a:r>
            <a:r>
              <a:rPr lang="en-US" sz="1800" dirty="0" err="1"/>
              <a:t>s.Term</a:t>
            </a:r>
            <a:r>
              <a:rPr lang="en-US" sz="1800" dirty="0"/>
              <a:t>, </a:t>
            </a:r>
          </a:p>
          <a:p>
            <a:r>
              <a:rPr lang="en-US" sz="1800" dirty="0"/>
              <a:t>	t.BM25</a:t>
            </a:r>
          </a:p>
          <a:p>
            <a:r>
              <a:rPr lang="en-US" sz="1800" dirty="0"/>
              <a:t>FROM </a:t>
            </a:r>
            <a:r>
              <a:rPr lang="en-US" sz="1800" dirty="0" err="1"/>
              <a:t>SearchIndex</a:t>
            </a:r>
            <a:r>
              <a:rPr lang="en-US" sz="1800" dirty="0"/>
              <a:t> s</a:t>
            </a:r>
          </a:p>
          <a:p>
            <a:r>
              <a:rPr lang="en-US" sz="1800" dirty="0"/>
              <a:t>join TermBM25 t on </a:t>
            </a:r>
            <a:r>
              <a:rPr lang="en-US" sz="1800" dirty="0" err="1"/>
              <a:t>s.Term</a:t>
            </a:r>
            <a:r>
              <a:rPr lang="en-US" sz="1800" dirty="0"/>
              <a:t> = </a:t>
            </a:r>
            <a:r>
              <a:rPr lang="en-US" sz="1800" dirty="0" err="1"/>
              <a:t>t.Term</a:t>
            </a:r>
            <a:endParaRPr lang="en-US" sz="1800" dirty="0"/>
          </a:p>
          <a:p>
            <a:r>
              <a:rPr lang="en-US" sz="1800" dirty="0"/>
              <a:t>left join Folder f on </a:t>
            </a:r>
            <a:r>
              <a:rPr lang="en-US" sz="1800" dirty="0" err="1"/>
              <a:t>f.Id</a:t>
            </a:r>
            <a:r>
              <a:rPr lang="en-US" sz="1800" dirty="0"/>
              <a:t> = </a:t>
            </a:r>
            <a:r>
              <a:rPr lang="en-US" sz="1800" dirty="0" err="1"/>
              <a:t>s.ObjectId</a:t>
            </a:r>
            <a:r>
              <a:rPr lang="en-US" sz="1800" dirty="0"/>
              <a:t> and </a:t>
            </a:r>
            <a:r>
              <a:rPr lang="en-US" sz="1800" dirty="0" err="1"/>
              <a:t>s.ObjectTypeId</a:t>
            </a:r>
            <a:r>
              <a:rPr lang="en-US" sz="1800" dirty="0"/>
              <a:t> = 1</a:t>
            </a:r>
          </a:p>
          <a:p>
            <a:r>
              <a:rPr lang="en-US" sz="1800" dirty="0"/>
              <a:t>left join Files fi on </a:t>
            </a:r>
            <a:r>
              <a:rPr lang="en-US" sz="1800" dirty="0" err="1"/>
              <a:t>fi.Id</a:t>
            </a:r>
            <a:r>
              <a:rPr lang="en-US" sz="1800" dirty="0"/>
              <a:t> = </a:t>
            </a:r>
            <a:r>
              <a:rPr lang="en-US" sz="1800" dirty="0" err="1"/>
              <a:t>s.ObjectId</a:t>
            </a:r>
            <a:r>
              <a:rPr lang="en-US" sz="1800" dirty="0"/>
              <a:t> and </a:t>
            </a:r>
            <a:r>
              <a:rPr lang="en-US" sz="1800" dirty="0" err="1"/>
              <a:t>s.ObjectTypeId</a:t>
            </a:r>
            <a:r>
              <a:rPr lang="en-US" sz="1800" dirty="0"/>
              <a:t> = 2</a:t>
            </a:r>
          </a:p>
          <a:p>
            <a:r>
              <a:rPr lang="en-US" sz="1800" dirty="0"/>
              <a:t>WHERE </a:t>
            </a:r>
            <a:r>
              <a:rPr lang="en-US" sz="1800" dirty="0" err="1"/>
              <a:t>t.Term</a:t>
            </a:r>
            <a:r>
              <a:rPr lang="en-US" sz="1800" dirty="0"/>
              <a:t> IN ('report')</a:t>
            </a:r>
          </a:p>
          <a:p>
            <a:r>
              <a:rPr lang="en-US" sz="1800" dirty="0"/>
              <a:t>ORDER BY t.BM25 DESC;</a:t>
            </a:r>
          </a:p>
        </p:txBody>
      </p:sp>
    </p:spTree>
    <p:extLst>
      <p:ext uri="{BB962C8B-B14F-4D97-AF65-F5344CB8AC3E}">
        <p14:creationId xmlns:p14="http://schemas.microsoft.com/office/powerpoint/2010/main" val="4231561180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9B0D693-42D5-3C0F-5ED4-40522D2C12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9B0D693-42D5-3C0F-5ED4-40522D2C12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EF648B22-9BC3-A38D-EECF-81EDB4845C6F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59" b="42247"/>
          <a:stretch/>
        </p:blipFill>
        <p:spPr>
          <a:xfrm>
            <a:off x="0" y="1098000"/>
            <a:ext cx="12192000" cy="2160000"/>
          </a:xfr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E1F6CD6B-1F52-35AC-8E87-6337B4A1077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CCE0C7-F39C-A9B7-EFD4-CECED4307FF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>
                <a:solidFill>
                  <a:srgbClr val="FF0000"/>
                </a:solidFill>
              </a:rPr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2788836881"/>
      </p:ext>
    </p:extLst>
  </p:cSld>
  <p:clrMapOvr>
    <a:masterClrMapping/>
  </p:clrMapOvr>
  <p:transition spd="slow">
    <p:push dir="u"/>
  </p:transition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8">
          <a:extLst>
            <a:ext uri="{FF2B5EF4-FFF2-40B4-BE49-F238E27FC236}">
              <a16:creationId xmlns:a16="http://schemas.microsoft.com/office/drawing/2014/main" id="{1D22BD27-EC8E-0153-A7E4-8670058E65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614591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1">
          <a:extLst>
            <a:ext uri="{FF2B5EF4-FFF2-40B4-BE49-F238E27FC236}">
              <a16:creationId xmlns:a16="http://schemas.microsoft.com/office/drawing/2014/main" id="{AAB8BA30-F239-E72E-5BC8-C0D70F647E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AF919577-A20E-1BE8-FEAB-8EFFED4C03F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999" y="982943"/>
            <a:ext cx="10971430" cy="57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212" name="Google Shape;212;g344eaf56fbf_0_25">
            <a:extLst>
              <a:ext uri="{FF2B5EF4-FFF2-40B4-BE49-F238E27FC236}">
                <a16:creationId xmlns:a16="http://schemas.microsoft.com/office/drawing/2014/main" id="{7E4B3C23-253F-6570-8C73-7E51B2DB706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First Scre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444149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1">
          <a:extLst>
            <a:ext uri="{FF2B5EF4-FFF2-40B4-BE49-F238E27FC236}">
              <a16:creationId xmlns:a16="http://schemas.microsoft.com/office/drawing/2014/main" id="{C5DE4F0D-F9E9-A81B-FC37-F223A73F86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E1360D1-8C1E-465B-56E5-5C3DAF3C03A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0285" y="1098000"/>
            <a:ext cx="10971430" cy="57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212" name="Google Shape;212;g344eaf56fbf_0_25">
            <a:extLst>
              <a:ext uri="{FF2B5EF4-FFF2-40B4-BE49-F238E27FC236}">
                <a16:creationId xmlns:a16="http://schemas.microsoft.com/office/drawing/2014/main" id="{D3DEF6F6-5264-6775-A139-2C8610CBAEEF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First Scre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34512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8" name="Google Shape;218;g344eaf56fbf_3_1"/>
          <p:cNvSpPr txBox="1">
            <a:spLocks noGrp="1"/>
          </p:cNvSpPr>
          <p:nvPr>
            <p:ph type="title" idx="4294967295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Database Structure For First Screen</a:t>
            </a:r>
            <a:endParaRPr/>
          </a:p>
        </p:txBody>
      </p:sp>
      <p:pic>
        <p:nvPicPr>
          <p:cNvPr id="219" name="Google Shape;219;g344eaf56fbf_3_1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52400" y="1250400"/>
            <a:ext cx="11887201" cy="492204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E5E807-F38D-91A3-8C1E-F26B23E878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6C996879-C1FB-6DEA-1D40-0902C175CE4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0571" y="225706"/>
            <a:ext cx="10331878" cy="6406587"/>
          </a:xfrm>
          <a:prstGeom prst="rect">
            <a:avLst/>
          </a:prstGeom>
        </p:spPr>
      </p:pic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82514F0F-CE5E-EC6E-5D69-9018E70E1B4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240CFD8D-4DE9-AC89-6802-A8930F140D1E}"/>
              </a:ext>
            </a:extLst>
          </p:cNvPr>
          <p:cNvSpPr/>
          <p:nvPr/>
        </p:nvSpPr>
        <p:spPr>
          <a:xfrm>
            <a:off x="584522" y="2003520"/>
            <a:ext cx="3414531" cy="658657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C95ED4DA-D582-5CDE-4E8C-8AEF7959BFCB}"/>
              </a:ext>
            </a:extLst>
          </p:cNvPr>
          <p:cNvCxnSpPr/>
          <p:nvPr/>
        </p:nvCxnSpPr>
        <p:spPr>
          <a:xfrm flipV="1">
            <a:off x="3956424" y="1292320"/>
            <a:ext cx="2139576" cy="711200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76B5A2B9-CEB2-84EB-119D-256D1AA3B0BE}"/>
              </a:ext>
            </a:extLst>
          </p:cNvPr>
          <p:cNvSpPr txBox="1"/>
          <p:nvPr/>
        </p:nvSpPr>
        <p:spPr>
          <a:xfrm>
            <a:off x="6096000" y="1086132"/>
            <a:ext cx="2061882" cy="412376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Get folder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BACB6A3-62EE-FAEE-0089-62797F3D9F93}"/>
              </a:ext>
            </a:extLst>
          </p:cNvPr>
          <p:cNvSpPr/>
          <p:nvPr/>
        </p:nvSpPr>
        <p:spPr>
          <a:xfrm>
            <a:off x="4087549" y="3572821"/>
            <a:ext cx="3357923" cy="3059472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C55AB6F-C88C-FF5B-EA8C-DEF663B60113}"/>
              </a:ext>
            </a:extLst>
          </p:cNvPr>
          <p:cNvSpPr txBox="1"/>
          <p:nvPr/>
        </p:nvSpPr>
        <p:spPr>
          <a:xfrm>
            <a:off x="8365147" y="4840943"/>
            <a:ext cx="1631577" cy="412376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Get file</a:t>
            </a:r>
          </a:p>
        </p:txBody>
      </p:sp>
      <p:cxnSp>
        <p:nvCxnSpPr>
          <p:cNvPr id="2" name="Straight Arrow Connector 1">
            <a:extLst>
              <a:ext uri="{FF2B5EF4-FFF2-40B4-BE49-F238E27FC236}">
                <a16:creationId xmlns:a16="http://schemas.microsoft.com/office/drawing/2014/main" id="{24D771F3-5CDD-7A5C-BB57-85F18DBB0493}"/>
              </a:ext>
            </a:extLst>
          </p:cNvPr>
          <p:cNvCxnSpPr>
            <a:cxnSpLocks/>
            <a:endCxn id="11" idx="1"/>
          </p:cNvCxnSpPr>
          <p:nvPr/>
        </p:nvCxnSpPr>
        <p:spPr>
          <a:xfrm>
            <a:off x="7378672" y="5047131"/>
            <a:ext cx="986475" cy="0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4852892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0EABF97-AD47-E779-68F5-D510B68CBB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6A8C3CD0-7F70-3002-F3A8-B84EE03EA6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82514F0F-CE5E-EC6E-5D69-9018E70E1B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7697BF7C-F446-8A44-6D0C-394ADDAE817A}"/>
              </a:ext>
            </a:extLst>
          </p:cNvPr>
          <p:cNvSpPr txBox="1"/>
          <p:nvPr/>
        </p:nvSpPr>
        <p:spPr>
          <a:xfrm>
            <a:off x="7136837" y="755632"/>
            <a:ext cx="2061882" cy="412376"/>
          </a:xfrm>
          <a:prstGeom prst="rect">
            <a:avLst/>
          </a:prstGeom>
          <a:noFill/>
          <a:ln w="19050">
            <a:solidFill>
              <a:srgbClr val="FFC0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Get folder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BB3AC0A-B1B8-43D1-77E0-989326FA1BA6}"/>
              </a:ext>
            </a:extLst>
          </p:cNvPr>
          <p:cNvSpPr txBox="1"/>
          <p:nvPr/>
        </p:nvSpPr>
        <p:spPr>
          <a:xfrm>
            <a:off x="1189317" y="773072"/>
            <a:ext cx="1631577" cy="412376"/>
          </a:xfrm>
          <a:prstGeom prst="rect">
            <a:avLst/>
          </a:prstGeom>
          <a:noFill/>
          <a:ln w="19050">
            <a:solidFill>
              <a:srgbClr val="FFC0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Get fil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75645FA-1F11-5164-9226-4BE78E55C751}"/>
              </a:ext>
            </a:extLst>
          </p:cNvPr>
          <p:cNvSpPr txBox="1"/>
          <p:nvPr/>
        </p:nvSpPr>
        <p:spPr>
          <a:xfrm>
            <a:off x="7136837" y="1566472"/>
            <a:ext cx="3693556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ld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th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lderPath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dated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lderUp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iz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tatu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'active'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dated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</a:p>
          <a:p>
            <a:endParaRPr lang="en-US" sz="18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2C0371D-ED94-FC15-8FDB-28223CE8FEC6}"/>
              </a:ext>
            </a:extLst>
          </p:cNvPr>
          <p:cNvSpPr txBox="1"/>
          <p:nvPr/>
        </p:nvSpPr>
        <p:spPr>
          <a:xfrm>
            <a:off x="974115" y="1566472"/>
            <a:ext cx="5599071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]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th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Path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ModifiedDat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Up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</a:p>
          <a:p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t.Icon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iz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t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tatu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'active'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ModifiedDat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sz="1800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0300279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bv template EN">
  <a:themeElements>
    <a:clrScheme name="Custom 418">
      <a:dk1>
        <a:srgbClr val="333333"/>
      </a:dk1>
      <a:lt1>
        <a:srgbClr val="FFFFFF"/>
      </a:lt1>
      <a:dk2>
        <a:srgbClr val="CC071E"/>
      </a:dk2>
      <a:lt2>
        <a:srgbClr val="707173"/>
      </a:lt2>
      <a:accent1>
        <a:srgbClr val="707173"/>
      </a:accent1>
      <a:accent2>
        <a:srgbClr val="9C9E9F"/>
      </a:accent2>
      <a:accent3>
        <a:srgbClr val="B1B2B4"/>
      </a:accent3>
      <a:accent4>
        <a:srgbClr val="C6C7C8"/>
      </a:accent4>
      <a:accent5>
        <a:srgbClr val="D9DADB"/>
      </a:accent5>
      <a:accent6>
        <a:srgbClr val="ECECED"/>
      </a:accent6>
      <a:hlink>
        <a:srgbClr val="333333"/>
      </a:hlink>
      <a:folHlink>
        <a:srgbClr val="333333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863</TotalTime>
  <Words>3140</Words>
  <Application>Microsoft Office PowerPoint</Application>
  <PresentationFormat>Widescreen</PresentationFormat>
  <Paragraphs>543</Paragraphs>
  <Slides>48</Slides>
  <Notes>48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8</vt:i4>
      </vt:variant>
    </vt:vector>
  </HeadingPairs>
  <TitlesOfParts>
    <vt:vector size="53" baseType="lpstr">
      <vt:lpstr>Arial</vt:lpstr>
      <vt:lpstr>Calibri</vt:lpstr>
      <vt:lpstr>Cascadia Mono</vt:lpstr>
      <vt:lpstr>bbv template EN</vt:lpstr>
      <vt:lpstr>think-cell Slide</vt:lpstr>
      <vt:lpstr>PowerPoint Presentation</vt:lpstr>
      <vt:lpstr>Google Drive Database Design</vt:lpstr>
      <vt:lpstr>Agenda</vt:lpstr>
      <vt:lpstr>Google Drive functions and database design as followed</vt:lpstr>
      <vt:lpstr>First Screen</vt:lpstr>
      <vt:lpstr>First Screen</vt:lpstr>
      <vt:lpstr>Database Structure For First Screen</vt:lpstr>
      <vt:lpstr>PowerPoint Presentation</vt:lpstr>
      <vt:lpstr>PowerPoint Presentation</vt:lpstr>
      <vt:lpstr>PowerPoint Presentation</vt:lpstr>
      <vt:lpstr>PowerPoint Presentation</vt:lpstr>
      <vt:lpstr>Table For Setting Feature</vt:lpstr>
      <vt:lpstr>Table For Setting Feature</vt:lpstr>
      <vt:lpstr>Setting Sample Data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roduct UI</vt:lpstr>
      <vt:lpstr>Table for Product Feature</vt:lpstr>
      <vt:lpstr>PowerPoint Presentation</vt:lpstr>
      <vt:lpstr>PowerPoint Presentation</vt:lpstr>
      <vt:lpstr>Resolve permission problem in Google Drive</vt:lpstr>
      <vt:lpstr>Share</vt:lpstr>
      <vt:lpstr>Table for Share feature</vt:lpstr>
      <vt:lpstr>Add column “Path” to table folder</vt:lpstr>
      <vt:lpstr>PowerPoint Presentation</vt:lpstr>
      <vt:lpstr>PowerPoint Presentation</vt:lpstr>
      <vt:lpstr>PowerPoint Presentation</vt:lpstr>
      <vt:lpstr>Full-text Search with BM25</vt:lpstr>
      <vt:lpstr>WHAT IS BM25 ?</vt:lpstr>
      <vt:lpstr>PowerPoint Presentation</vt:lpstr>
      <vt:lpstr>PowerPoint Presentation</vt:lpstr>
      <vt:lpstr>HOW DOES IT WORKS ? </vt:lpstr>
      <vt:lpstr>Tokenization</vt:lpstr>
      <vt:lpstr>Caculate IDF ( InverseIndexFrequency) </vt:lpstr>
      <vt:lpstr>TF (TermFrequency)</vt:lpstr>
      <vt:lpstr>Total Score</vt:lpstr>
      <vt:lpstr>SQL Implement Full Text Search BM25</vt:lpstr>
      <vt:lpstr>SQL Implement Full Text Search BM25</vt:lpstr>
      <vt:lpstr>SQL Implement Full Text Search BM25</vt:lpstr>
      <vt:lpstr>Q&amp;A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ao Trong Vo</dc:creator>
  <cp:lastModifiedBy>khiem tran</cp:lastModifiedBy>
  <cp:revision>19</cp:revision>
  <dcterms:created xsi:type="dcterms:W3CDTF">2025-07-10T03:51:23Z</dcterms:created>
  <dcterms:modified xsi:type="dcterms:W3CDTF">2025-08-12T06:13:29Z</dcterms:modified>
</cp:coreProperties>
</file>